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7" r:id="rId1"/>
  </p:sldMasterIdLst>
  <p:notesMasterIdLst>
    <p:notesMasterId r:id="rId34"/>
  </p:notesMasterIdLst>
  <p:sldIdLst>
    <p:sldId id="286" r:id="rId2"/>
    <p:sldId id="269" r:id="rId3"/>
    <p:sldId id="270" r:id="rId4"/>
    <p:sldId id="287" r:id="rId5"/>
    <p:sldId id="288" r:id="rId6"/>
    <p:sldId id="304" r:id="rId7"/>
    <p:sldId id="299" r:id="rId8"/>
    <p:sldId id="271" r:id="rId9"/>
    <p:sldId id="272" r:id="rId10"/>
    <p:sldId id="273" r:id="rId11"/>
    <p:sldId id="274" r:id="rId12"/>
    <p:sldId id="275" r:id="rId13"/>
    <p:sldId id="302" r:id="rId14"/>
    <p:sldId id="303" r:id="rId15"/>
    <p:sldId id="276" r:id="rId16"/>
    <p:sldId id="259" r:id="rId17"/>
    <p:sldId id="277" r:id="rId18"/>
    <p:sldId id="298" r:id="rId19"/>
    <p:sldId id="293" r:id="rId20"/>
    <p:sldId id="279" r:id="rId21"/>
    <p:sldId id="281" r:id="rId22"/>
    <p:sldId id="278" r:id="rId23"/>
    <p:sldId id="282" r:id="rId24"/>
    <p:sldId id="283" r:id="rId25"/>
    <p:sldId id="284" r:id="rId26"/>
    <p:sldId id="285" r:id="rId27"/>
    <p:sldId id="291" r:id="rId28"/>
    <p:sldId id="294" r:id="rId29"/>
    <p:sldId id="295" r:id="rId30"/>
    <p:sldId id="300" r:id="rId31"/>
    <p:sldId id="301" r:id="rId32"/>
    <p:sldId id="305" r:id="rId3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3A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>
      <p:cViewPr varScale="1">
        <p:scale>
          <a:sx n="81" d="100"/>
          <a:sy n="81" d="100"/>
        </p:scale>
        <p:origin x="917" y="67"/>
      </p:cViewPr>
      <p:guideLst>
        <p:guide orient="horz" pos="2160"/>
        <p:guide pos="384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CE6E76-ACE5-D740-821C-BEC0D620B1E8}" type="doc">
      <dgm:prSet loTypeId="urn:microsoft.com/office/officeart/2005/8/layout/hProcess9" loCatId="" qsTypeId="urn:microsoft.com/office/officeart/2005/8/quickstyle/simple4" qsCatId="simple" csTypeId="urn:microsoft.com/office/officeart/2005/8/colors/colorful4" csCatId="colorful" phldr="1"/>
      <dgm:spPr/>
    </dgm:pt>
    <dgm:pt modelId="{492158C2-A5BB-4941-982E-04EBBB9E8B4A}">
      <dgm:prSet phldrT="[Text]">
        <dgm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Data</a:t>
          </a:r>
          <a:endParaRPr lang="en-US" dirty="0"/>
        </a:p>
      </dgm:t>
    </dgm:pt>
    <dgm:pt modelId="{AC799A2C-575C-5F48-BF98-48DC0B6DFD81}" type="parTrans" cxnId="{44E1B18D-2787-5649-9BC4-C5A05ACCEDC5}">
      <dgm:prSet/>
      <dgm:spPr/>
      <dgm:t>
        <a:bodyPr/>
        <a:lstStyle/>
        <a:p>
          <a:endParaRPr lang="en-US"/>
        </a:p>
      </dgm:t>
    </dgm:pt>
    <dgm:pt modelId="{9E27480B-EFA2-724E-B855-836A88F00695}" type="sibTrans" cxnId="{44E1B18D-2787-5649-9BC4-C5A05ACCEDC5}">
      <dgm:prSet/>
      <dgm:spPr/>
      <dgm:t>
        <a:bodyPr/>
        <a:lstStyle/>
        <a:p>
          <a:endParaRPr lang="en-US"/>
        </a:p>
      </dgm:t>
    </dgm:pt>
    <dgm:pt modelId="{BD2ED9A6-72F6-DF4F-8779-B6F5309F7E75}">
      <dgm:prSet phldrT="[Text]">
        <dgm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Information</a:t>
          </a:r>
          <a:endParaRPr lang="en-US" dirty="0"/>
        </a:p>
      </dgm:t>
    </dgm:pt>
    <dgm:pt modelId="{E6FE63FE-C11B-D341-8CEE-DF0A42F291B6}" type="parTrans" cxnId="{11951CB8-FF97-0042-8CC2-803901E8DC9E}">
      <dgm:prSet/>
      <dgm:spPr/>
      <dgm:t>
        <a:bodyPr/>
        <a:lstStyle/>
        <a:p>
          <a:endParaRPr lang="en-US"/>
        </a:p>
      </dgm:t>
    </dgm:pt>
    <dgm:pt modelId="{420BEF06-00AB-624A-89BD-18912434A435}" type="sibTrans" cxnId="{11951CB8-FF97-0042-8CC2-803901E8DC9E}">
      <dgm:prSet/>
      <dgm:spPr/>
      <dgm:t>
        <a:bodyPr/>
        <a:lstStyle/>
        <a:p>
          <a:endParaRPr lang="en-US"/>
        </a:p>
      </dgm:t>
    </dgm:pt>
    <dgm:pt modelId="{E1D9E69B-7F37-AC49-8137-7D1C39BE69B7}">
      <dgm:prSet phldrT="[Text]">
        <dgm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dirty="0" smtClean="0"/>
            <a:t>Knowledge</a:t>
          </a:r>
          <a:endParaRPr lang="en-US" dirty="0"/>
        </a:p>
      </dgm:t>
    </dgm:pt>
    <dgm:pt modelId="{7F12BB8C-1340-8F43-8A37-CB4D104D58F7}" type="parTrans" cxnId="{FBAC42C0-5E3D-EF45-8F38-4C1275B61CC9}">
      <dgm:prSet/>
      <dgm:spPr/>
      <dgm:t>
        <a:bodyPr/>
        <a:lstStyle/>
        <a:p>
          <a:endParaRPr lang="en-US"/>
        </a:p>
      </dgm:t>
    </dgm:pt>
    <dgm:pt modelId="{34D4F622-A013-864E-924B-401AEA7CAE27}" type="sibTrans" cxnId="{FBAC42C0-5E3D-EF45-8F38-4C1275B61CC9}">
      <dgm:prSet/>
      <dgm:spPr/>
      <dgm:t>
        <a:bodyPr/>
        <a:lstStyle/>
        <a:p>
          <a:endParaRPr lang="en-US"/>
        </a:p>
      </dgm:t>
    </dgm:pt>
    <dgm:pt modelId="{488BAEE4-AE30-1242-848F-4B0C26C20EDC}" type="pres">
      <dgm:prSet presAssocID="{3ECE6E76-ACE5-D740-821C-BEC0D620B1E8}" presName="CompostProcess" presStyleCnt="0">
        <dgm:presLayoutVars>
          <dgm:dir/>
          <dgm:resizeHandles val="exact"/>
        </dgm:presLayoutVars>
      </dgm:prSet>
      <dgm:spPr/>
    </dgm:pt>
    <dgm:pt modelId="{99E75757-B07B-AB4C-B7D7-D7CF1691D049}" type="pres">
      <dgm:prSet presAssocID="{3ECE6E76-ACE5-D740-821C-BEC0D620B1E8}" presName="arrow" presStyleLbl="bgShp" presStyleIdx="0" presStyleCnt="1" custScaleX="94662" custScaleY="40050" custLinFactNeighborX="-454" custLinFactNeighborY="-29975"/>
      <dgm:spPr>
        <a:gradFill flip="none" rotWithShape="1">
          <a:gsLst>
            <a:gs pos="0">
              <a:schemeClr val="bg2"/>
            </a:gs>
            <a:gs pos="100000">
              <a:schemeClr val="bg2">
                <a:lumMod val="50000"/>
              </a:schemeClr>
            </a:gs>
          </a:gsLst>
          <a:lin ang="0" scaled="1"/>
          <a:tileRect/>
        </a:gradFill>
        <a:effectLst/>
      </dgm:spPr>
    </dgm:pt>
    <dgm:pt modelId="{2567F3AB-216F-D847-A904-6F092C29EF0A}" type="pres">
      <dgm:prSet presAssocID="{3ECE6E76-ACE5-D740-821C-BEC0D620B1E8}" presName="linearProcess" presStyleCnt="0"/>
      <dgm:spPr/>
    </dgm:pt>
    <dgm:pt modelId="{02EA4E8F-CED3-5B4D-8E01-840F2E14AFCE}" type="pres">
      <dgm:prSet presAssocID="{492158C2-A5BB-4941-982E-04EBBB9E8B4A}" presName="textNode" presStyleLbl="node1" presStyleIdx="0" presStyleCnt="3" custScaleX="61178" custLinFactX="-10292" custLinFactNeighborX="-100000" custLinFactNeighborY="334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55F10F-C9F8-E24A-82FC-B1BA514D4A48}" type="pres">
      <dgm:prSet presAssocID="{9E27480B-EFA2-724E-B855-836A88F00695}" presName="sibTrans" presStyleCnt="0"/>
      <dgm:spPr/>
    </dgm:pt>
    <dgm:pt modelId="{22FE57EB-1291-5D4B-9AB3-D003F2A31A7E}" type="pres">
      <dgm:prSet presAssocID="{BD2ED9A6-72F6-DF4F-8779-B6F5309F7E75}" presName="textNode" presStyleLbl="node1" presStyleIdx="1" presStyleCnt="3" custScaleX="68917" custLinFactNeighborX="3951" custLinFactNeighborY="334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5F40021-F710-454B-A33C-6666852831F2}" type="pres">
      <dgm:prSet presAssocID="{420BEF06-00AB-624A-89BD-18912434A435}" presName="sibTrans" presStyleCnt="0"/>
      <dgm:spPr/>
    </dgm:pt>
    <dgm:pt modelId="{1628CC33-7E82-9147-B8BB-244E76987E70}" type="pres">
      <dgm:prSet presAssocID="{E1D9E69B-7F37-AC49-8137-7D1C39BE69B7}" presName="textNode" presStyleLbl="node1" presStyleIdx="2" presStyleCnt="3" custScaleX="72788" custLinFactX="15298" custLinFactNeighborX="100000" custLinFactNeighborY="334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05D01C5-3ED0-7546-8C71-CD4C5512E16E}" type="presOf" srcId="{E1D9E69B-7F37-AC49-8137-7D1C39BE69B7}" destId="{1628CC33-7E82-9147-B8BB-244E76987E70}" srcOrd="0" destOrd="0" presId="urn:microsoft.com/office/officeart/2005/8/layout/hProcess9"/>
    <dgm:cxn modelId="{44E1B18D-2787-5649-9BC4-C5A05ACCEDC5}" srcId="{3ECE6E76-ACE5-D740-821C-BEC0D620B1E8}" destId="{492158C2-A5BB-4941-982E-04EBBB9E8B4A}" srcOrd="0" destOrd="0" parTransId="{AC799A2C-575C-5F48-BF98-48DC0B6DFD81}" sibTransId="{9E27480B-EFA2-724E-B855-836A88F00695}"/>
    <dgm:cxn modelId="{CB591459-AA79-2E45-8636-9CBCD319208C}" type="presOf" srcId="{492158C2-A5BB-4941-982E-04EBBB9E8B4A}" destId="{02EA4E8F-CED3-5B4D-8E01-840F2E14AFCE}" srcOrd="0" destOrd="0" presId="urn:microsoft.com/office/officeart/2005/8/layout/hProcess9"/>
    <dgm:cxn modelId="{18A9C660-9AC5-DF47-931B-4F45F6A78349}" type="presOf" srcId="{3ECE6E76-ACE5-D740-821C-BEC0D620B1E8}" destId="{488BAEE4-AE30-1242-848F-4B0C26C20EDC}" srcOrd="0" destOrd="0" presId="urn:microsoft.com/office/officeart/2005/8/layout/hProcess9"/>
    <dgm:cxn modelId="{FBAC42C0-5E3D-EF45-8F38-4C1275B61CC9}" srcId="{3ECE6E76-ACE5-D740-821C-BEC0D620B1E8}" destId="{E1D9E69B-7F37-AC49-8137-7D1C39BE69B7}" srcOrd="2" destOrd="0" parTransId="{7F12BB8C-1340-8F43-8A37-CB4D104D58F7}" sibTransId="{34D4F622-A013-864E-924B-401AEA7CAE27}"/>
    <dgm:cxn modelId="{11951CB8-FF97-0042-8CC2-803901E8DC9E}" srcId="{3ECE6E76-ACE5-D740-821C-BEC0D620B1E8}" destId="{BD2ED9A6-72F6-DF4F-8779-B6F5309F7E75}" srcOrd="1" destOrd="0" parTransId="{E6FE63FE-C11B-D341-8CEE-DF0A42F291B6}" sibTransId="{420BEF06-00AB-624A-89BD-18912434A435}"/>
    <dgm:cxn modelId="{C278EEFD-E302-2441-B406-4632CC7CC49A}" type="presOf" srcId="{BD2ED9A6-72F6-DF4F-8779-B6F5309F7E75}" destId="{22FE57EB-1291-5D4B-9AB3-D003F2A31A7E}" srcOrd="0" destOrd="0" presId="urn:microsoft.com/office/officeart/2005/8/layout/hProcess9"/>
    <dgm:cxn modelId="{91F09D2B-BF05-9E4D-BF7E-7F5A9E7C3551}" type="presParOf" srcId="{488BAEE4-AE30-1242-848F-4B0C26C20EDC}" destId="{99E75757-B07B-AB4C-B7D7-D7CF1691D049}" srcOrd="0" destOrd="0" presId="urn:microsoft.com/office/officeart/2005/8/layout/hProcess9"/>
    <dgm:cxn modelId="{4B958278-3FCD-F54F-9F8C-089A4FBDA8D9}" type="presParOf" srcId="{488BAEE4-AE30-1242-848F-4B0C26C20EDC}" destId="{2567F3AB-216F-D847-A904-6F092C29EF0A}" srcOrd="1" destOrd="0" presId="urn:microsoft.com/office/officeart/2005/8/layout/hProcess9"/>
    <dgm:cxn modelId="{49B356AB-3D87-754D-AEBD-F912A9726D0B}" type="presParOf" srcId="{2567F3AB-216F-D847-A904-6F092C29EF0A}" destId="{02EA4E8F-CED3-5B4D-8E01-840F2E14AFCE}" srcOrd="0" destOrd="0" presId="urn:microsoft.com/office/officeart/2005/8/layout/hProcess9"/>
    <dgm:cxn modelId="{90FF8E02-609F-8548-BE34-EAE037265EEF}" type="presParOf" srcId="{2567F3AB-216F-D847-A904-6F092C29EF0A}" destId="{AF55F10F-C9F8-E24A-82FC-B1BA514D4A48}" srcOrd="1" destOrd="0" presId="urn:microsoft.com/office/officeart/2005/8/layout/hProcess9"/>
    <dgm:cxn modelId="{7ABDF8B7-2D48-C445-B5A9-14EA8EACA30A}" type="presParOf" srcId="{2567F3AB-216F-D847-A904-6F092C29EF0A}" destId="{22FE57EB-1291-5D4B-9AB3-D003F2A31A7E}" srcOrd="2" destOrd="0" presId="urn:microsoft.com/office/officeart/2005/8/layout/hProcess9"/>
    <dgm:cxn modelId="{B46DF6D4-D9CB-B84D-901F-AD87DA938283}" type="presParOf" srcId="{2567F3AB-216F-D847-A904-6F092C29EF0A}" destId="{65F40021-F710-454B-A33C-6666852831F2}" srcOrd="3" destOrd="0" presId="urn:microsoft.com/office/officeart/2005/8/layout/hProcess9"/>
    <dgm:cxn modelId="{4BDDB752-CB6B-B444-9088-D0C8891CC085}" type="presParOf" srcId="{2567F3AB-216F-D847-A904-6F092C29EF0A}" destId="{1628CC33-7E82-9147-B8BB-244E76987E70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0B2F2D8-00A2-034A-930D-71AEDB616C2C}" type="doc">
      <dgm:prSet loTypeId="urn:microsoft.com/office/officeart/2005/8/layout/hierarchy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480C9BB-F8E6-874A-9288-85B8B490EC91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/>
            <a:t>Data</a:t>
          </a:r>
          <a:endParaRPr lang="en-US" sz="1400" dirty="0"/>
        </a:p>
      </dgm:t>
    </dgm:pt>
    <dgm:pt modelId="{15B8000D-AAF6-8A46-B493-59128EA97CF7}" type="parTrans" cxnId="{5AFF5094-3A70-F549-BD0E-2115EED938D8}">
      <dgm:prSet/>
      <dgm:spPr/>
      <dgm:t>
        <a:bodyPr/>
        <a:lstStyle/>
        <a:p>
          <a:endParaRPr lang="en-US" sz="1600"/>
        </a:p>
      </dgm:t>
    </dgm:pt>
    <dgm:pt modelId="{A1955E24-0525-0543-92BB-D72E62810D24}" type="sibTrans" cxnId="{5AFF5094-3A70-F549-BD0E-2115EED938D8}">
      <dgm:prSet/>
      <dgm:spPr/>
      <dgm:t>
        <a:bodyPr/>
        <a:lstStyle/>
        <a:p>
          <a:endParaRPr lang="en-US" sz="1600"/>
        </a:p>
      </dgm:t>
    </dgm:pt>
    <dgm:pt modelId="{A4E799F2-C5F2-9541-A74C-1711CF1BAF4A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/>
            <a:t>Designed</a:t>
          </a:r>
          <a:endParaRPr lang="en-US" sz="1400" dirty="0"/>
        </a:p>
      </dgm:t>
    </dgm:pt>
    <dgm:pt modelId="{2BB955D0-1630-F04C-85EC-09C68B1D73BB}" type="parTrans" cxnId="{015A1470-933F-904F-B7BD-2D5299275E29}">
      <dgm:prSet custT="1"/>
      <dgm:spPr/>
      <dgm:t>
        <a:bodyPr/>
        <a:lstStyle/>
        <a:p>
          <a:endParaRPr lang="en-US" sz="500"/>
        </a:p>
      </dgm:t>
    </dgm:pt>
    <dgm:pt modelId="{633E872C-DEC0-0449-9D0F-68025A123DED}" type="sibTrans" cxnId="{015A1470-933F-904F-B7BD-2D5299275E29}">
      <dgm:prSet/>
      <dgm:spPr/>
      <dgm:t>
        <a:bodyPr/>
        <a:lstStyle/>
        <a:p>
          <a:endParaRPr lang="en-US" sz="1600"/>
        </a:p>
      </dgm:t>
    </dgm:pt>
    <dgm:pt modelId="{D5753433-D487-7341-A62C-C99CE257FAB5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/>
            <a:t>Survey</a:t>
          </a:r>
          <a:endParaRPr lang="en-US" sz="1400" dirty="0"/>
        </a:p>
      </dgm:t>
    </dgm:pt>
    <dgm:pt modelId="{FF0BE5E2-A395-0F44-A470-01FA09A4EF11}" type="parTrans" cxnId="{BC66F639-1E52-B943-8E55-D56A9C44F979}">
      <dgm:prSet custT="1"/>
      <dgm:spPr/>
      <dgm:t>
        <a:bodyPr/>
        <a:lstStyle/>
        <a:p>
          <a:endParaRPr lang="en-US" sz="400"/>
        </a:p>
      </dgm:t>
    </dgm:pt>
    <dgm:pt modelId="{7301C33A-B463-F246-8964-449C50912161}" type="sibTrans" cxnId="{BC66F639-1E52-B943-8E55-D56A9C44F979}">
      <dgm:prSet/>
      <dgm:spPr/>
      <dgm:t>
        <a:bodyPr/>
        <a:lstStyle/>
        <a:p>
          <a:endParaRPr lang="en-US" sz="1600"/>
        </a:p>
      </dgm:t>
    </dgm:pt>
    <dgm:pt modelId="{4FD87A66-F5A3-6241-B7F5-EA1D62A0D218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/>
            <a:t>Administrative</a:t>
          </a:r>
          <a:endParaRPr lang="en-US" sz="1400" dirty="0"/>
        </a:p>
      </dgm:t>
    </dgm:pt>
    <dgm:pt modelId="{6A01694E-FDFC-C94E-80F6-B6BDFCA5026A}" type="parTrans" cxnId="{0B75C2DF-3610-C241-B933-8DE3CE540594}">
      <dgm:prSet custT="1"/>
      <dgm:spPr/>
      <dgm:t>
        <a:bodyPr/>
        <a:lstStyle/>
        <a:p>
          <a:endParaRPr lang="en-US" sz="400"/>
        </a:p>
      </dgm:t>
    </dgm:pt>
    <dgm:pt modelId="{14CBC8D3-AC82-1B4E-8E69-3B0DFBF7BFC8}" type="sibTrans" cxnId="{0B75C2DF-3610-C241-B933-8DE3CE540594}">
      <dgm:prSet/>
      <dgm:spPr/>
      <dgm:t>
        <a:bodyPr/>
        <a:lstStyle/>
        <a:p>
          <a:endParaRPr lang="en-US" sz="1600"/>
        </a:p>
      </dgm:t>
    </dgm:pt>
    <dgm:pt modelId="{8979E825-47D2-0E41-B60F-341983C090D6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400" dirty="0" smtClean="0"/>
            <a:t>Organic</a:t>
          </a:r>
          <a:endParaRPr lang="en-US" sz="1400" dirty="0"/>
        </a:p>
      </dgm:t>
    </dgm:pt>
    <dgm:pt modelId="{C9F21CCB-5B45-C544-94D5-B6B630283685}" type="parTrans" cxnId="{E515F38D-CDBB-9A48-AEEB-F9CBF1E721EA}">
      <dgm:prSet custT="1"/>
      <dgm:spPr/>
      <dgm:t>
        <a:bodyPr/>
        <a:lstStyle/>
        <a:p>
          <a:endParaRPr lang="en-US" sz="400"/>
        </a:p>
      </dgm:t>
    </dgm:pt>
    <dgm:pt modelId="{027D17CF-6478-3048-A000-F7DFFC3B1BAE}" type="sibTrans" cxnId="{E515F38D-CDBB-9A48-AEEB-F9CBF1E721EA}">
      <dgm:prSet/>
      <dgm:spPr/>
      <dgm:t>
        <a:bodyPr/>
        <a:lstStyle/>
        <a:p>
          <a:endParaRPr lang="en-US" sz="1600"/>
        </a:p>
      </dgm:t>
    </dgm:pt>
    <dgm:pt modelId="{E2D53739-16EB-454C-BB9A-3BE78EC3A736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400" dirty="0" smtClean="0"/>
            <a:t>Aspirational</a:t>
          </a:r>
          <a:endParaRPr lang="en-US" sz="1400" dirty="0"/>
        </a:p>
      </dgm:t>
    </dgm:pt>
    <dgm:pt modelId="{D86E8571-73B8-6D4D-A589-10DB2F2915A9}" type="parTrans" cxnId="{F22463B6-D584-F94D-AA87-343E6E91D7E4}">
      <dgm:prSet custT="1"/>
      <dgm:spPr/>
      <dgm:t>
        <a:bodyPr/>
        <a:lstStyle/>
        <a:p>
          <a:endParaRPr lang="en-US" sz="400"/>
        </a:p>
      </dgm:t>
    </dgm:pt>
    <dgm:pt modelId="{E4830CE7-4DBA-DA41-B831-2381D86BD921}" type="sibTrans" cxnId="{F22463B6-D584-F94D-AA87-343E6E91D7E4}">
      <dgm:prSet/>
      <dgm:spPr/>
      <dgm:t>
        <a:bodyPr/>
        <a:lstStyle/>
        <a:p>
          <a:endParaRPr lang="en-US" sz="1600"/>
        </a:p>
      </dgm:t>
    </dgm:pt>
    <dgm:pt modelId="{54E59540-8BFE-574F-98BB-218BDDB01856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/>
            <a:t>Public</a:t>
          </a:r>
          <a:endParaRPr lang="en-US" sz="1400" dirty="0"/>
        </a:p>
      </dgm:t>
    </dgm:pt>
    <dgm:pt modelId="{FD3CA5D3-A0C0-6449-A057-B18AF46693A9}" type="parTrans" cxnId="{F40AAC62-3B33-334D-A225-EA1BCC10A0B7}">
      <dgm:prSet custT="1"/>
      <dgm:spPr/>
      <dgm:t>
        <a:bodyPr/>
        <a:lstStyle/>
        <a:p>
          <a:endParaRPr lang="en-US" sz="400"/>
        </a:p>
      </dgm:t>
    </dgm:pt>
    <dgm:pt modelId="{2208C906-BD46-9F43-B840-DF7225FAE5C4}" type="sibTrans" cxnId="{F40AAC62-3B33-334D-A225-EA1BCC10A0B7}">
      <dgm:prSet/>
      <dgm:spPr/>
      <dgm:t>
        <a:bodyPr/>
        <a:lstStyle/>
        <a:p>
          <a:endParaRPr lang="en-US" sz="1600"/>
        </a:p>
      </dgm:t>
    </dgm:pt>
    <dgm:pt modelId="{88CC1F09-54E2-CF44-B63B-16F7EC4A5F82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/>
            <a:t>Private</a:t>
          </a:r>
          <a:endParaRPr lang="en-US" sz="1400" dirty="0"/>
        </a:p>
      </dgm:t>
    </dgm:pt>
    <dgm:pt modelId="{E49F5EC7-169C-C643-B146-97A33AF79832}" type="parTrans" cxnId="{8726FFF3-C559-7740-85F3-509E6FF04B2A}">
      <dgm:prSet custT="1"/>
      <dgm:spPr/>
      <dgm:t>
        <a:bodyPr/>
        <a:lstStyle/>
        <a:p>
          <a:endParaRPr lang="en-US" sz="400"/>
        </a:p>
      </dgm:t>
    </dgm:pt>
    <dgm:pt modelId="{80EE636E-73AA-D94A-836A-968E29FF1DEB}" type="sibTrans" cxnId="{8726FFF3-C559-7740-85F3-509E6FF04B2A}">
      <dgm:prSet/>
      <dgm:spPr/>
      <dgm:t>
        <a:bodyPr/>
        <a:lstStyle/>
        <a:p>
          <a:endParaRPr lang="en-US" sz="1600"/>
        </a:p>
      </dgm:t>
    </dgm:pt>
    <dgm:pt modelId="{2BF7B1ED-1574-7B46-B652-E2DD6DAB0642}">
      <dgm:prSet phldrT="[Text]" custT="1"/>
      <dgm:spPr>
        <a:solidFill>
          <a:schemeClr val="accent3"/>
        </a:solidFill>
      </dgm:spPr>
      <dgm:t>
        <a:bodyPr/>
        <a:lstStyle/>
        <a:p>
          <a:r>
            <a:rPr lang="en-US" sz="1400" dirty="0" smtClean="0"/>
            <a:t>Transactional</a:t>
          </a:r>
          <a:endParaRPr lang="en-US" sz="1400" dirty="0"/>
        </a:p>
      </dgm:t>
    </dgm:pt>
    <dgm:pt modelId="{B3687351-8CC8-B544-8FBD-793082CCCF99}" type="parTrans" cxnId="{F0DE17C2-8F32-7745-91A8-B8C3E64DC8B8}">
      <dgm:prSet custT="1"/>
      <dgm:spPr/>
      <dgm:t>
        <a:bodyPr/>
        <a:lstStyle/>
        <a:p>
          <a:endParaRPr lang="en-US" sz="400"/>
        </a:p>
      </dgm:t>
    </dgm:pt>
    <dgm:pt modelId="{6A8C2E72-A46C-BF49-A675-96A148EC8042}" type="sibTrans" cxnId="{F0DE17C2-8F32-7745-91A8-B8C3E64DC8B8}">
      <dgm:prSet/>
      <dgm:spPr/>
      <dgm:t>
        <a:bodyPr/>
        <a:lstStyle/>
        <a:p>
          <a:endParaRPr lang="en-US" sz="1600"/>
        </a:p>
      </dgm:t>
    </dgm:pt>
    <dgm:pt modelId="{92AF57FF-1346-E845-AB2C-513B48447FAA}">
      <dgm:prSet phldrT="[Text]" custT="1">
        <dgm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US" sz="1400" dirty="0" smtClean="0"/>
            <a:t>Aggregate</a:t>
          </a:r>
          <a:endParaRPr lang="en-US" sz="1400" dirty="0"/>
        </a:p>
      </dgm:t>
    </dgm:pt>
    <dgm:pt modelId="{FCB3CF16-6B43-8744-9FEF-A3D34410204F}" type="parTrans" cxnId="{16C984A0-7CBC-9549-8146-56869DBAF25F}">
      <dgm:prSet custT="1"/>
      <dgm:spPr/>
      <dgm:t>
        <a:bodyPr/>
        <a:lstStyle/>
        <a:p>
          <a:endParaRPr lang="en-US" sz="400"/>
        </a:p>
      </dgm:t>
    </dgm:pt>
    <dgm:pt modelId="{C5FB49F6-5A52-814E-9115-0A7D7D90884C}" type="sibTrans" cxnId="{16C984A0-7CBC-9549-8146-56869DBAF25F}">
      <dgm:prSet/>
      <dgm:spPr/>
      <dgm:t>
        <a:bodyPr/>
        <a:lstStyle/>
        <a:p>
          <a:endParaRPr lang="en-US" sz="1600"/>
        </a:p>
      </dgm:t>
    </dgm:pt>
    <dgm:pt modelId="{0854019E-5DC4-A049-8967-6AB58168BD3B}" type="pres">
      <dgm:prSet presAssocID="{A0B2F2D8-00A2-034A-930D-71AEDB616C2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B149CB0-23BA-044B-AE8E-0AA66519C947}" type="pres">
      <dgm:prSet presAssocID="{1480C9BB-F8E6-874A-9288-85B8B490EC91}" presName="root1" presStyleCnt="0"/>
      <dgm:spPr/>
    </dgm:pt>
    <dgm:pt modelId="{8D0D27FF-84BA-A64B-B31E-AF2AB6592ADD}" type="pres">
      <dgm:prSet presAssocID="{1480C9BB-F8E6-874A-9288-85B8B490EC91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C709CD7-9961-4341-968E-8E110974947F}" type="pres">
      <dgm:prSet presAssocID="{1480C9BB-F8E6-874A-9288-85B8B490EC91}" presName="level2hierChild" presStyleCnt="0"/>
      <dgm:spPr/>
    </dgm:pt>
    <dgm:pt modelId="{2CAC7AD4-3DAB-BD43-8483-FAEF91F769DD}" type="pres">
      <dgm:prSet presAssocID="{2BB955D0-1630-F04C-85EC-09C68B1D73BB}" presName="conn2-1" presStyleLbl="parChTrans1D2" presStyleIdx="0" presStyleCnt="2"/>
      <dgm:spPr/>
      <dgm:t>
        <a:bodyPr/>
        <a:lstStyle/>
        <a:p>
          <a:endParaRPr lang="en-US"/>
        </a:p>
      </dgm:t>
    </dgm:pt>
    <dgm:pt modelId="{5C17097E-EFE4-134A-9203-1E27ECDDB6A0}" type="pres">
      <dgm:prSet presAssocID="{2BB955D0-1630-F04C-85EC-09C68B1D73BB}" presName="connTx" presStyleLbl="parChTrans1D2" presStyleIdx="0" presStyleCnt="2"/>
      <dgm:spPr/>
      <dgm:t>
        <a:bodyPr/>
        <a:lstStyle/>
        <a:p>
          <a:endParaRPr lang="en-US"/>
        </a:p>
      </dgm:t>
    </dgm:pt>
    <dgm:pt modelId="{7F2E9DE5-A24F-E343-B055-C951D73A6BAE}" type="pres">
      <dgm:prSet presAssocID="{A4E799F2-C5F2-9541-A74C-1711CF1BAF4A}" presName="root2" presStyleCnt="0"/>
      <dgm:spPr/>
    </dgm:pt>
    <dgm:pt modelId="{0C3F54A6-2FAF-CF48-AEDF-6E7B68C4E21E}" type="pres">
      <dgm:prSet presAssocID="{A4E799F2-C5F2-9541-A74C-1711CF1BAF4A}" presName="LevelTwoTextNode" presStyleLbl="node2" presStyleIdx="0" presStyleCnt="2" custLinFactNeighborX="2228" custLinFactNeighborY="-2273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5A57213-F024-8941-A6A7-AE9A696DA4F0}" type="pres">
      <dgm:prSet presAssocID="{A4E799F2-C5F2-9541-A74C-1711CF1BAF4A}" presName="level3hierChild" presStyleCnt="0"/>
      <dgm:spPr/>
    </dgm:pt>
    <dgm:pt modelId="{C3BF6016-B413-2044-902C-E5E3D7F14226}" type="pres">
      <dgm:prSet presAssocID="{FF0BE5E2-A395-0F44-A470-01FA09A4EF11}" presName="conn2-1" presStyleLbl="parChTrans1D3" presStyleIdx="0" presStyleCnt="4"/>
      <dgm:spPr/>
      <dgm:t>
        <a:bodyPr/>
        <a:lstStyle/>
        <a:p>
          <a:endParaRPr lang="en-US"/>
        </a:p>
      </dgm:t>
    </dgm:pt>
    <dgm:pt modelId="{D482B826-BF8A-1A4B-8E42-B209C3158B32}" type="pres">
      <dgm:prSet presAssocID="{FF0BE5E2-A395-0F44-A470-01FA09A4EF11}" presName="connTx" presStyleLbl="parChTrans1D3" presStyleIdx="0" presStyleCnt="4"/>
      <dgm:spPr/>
      <dgm:t>
        <a:bodyPr/>
        <a:lstStyle/>
        <a:p>
          <a:endParaRPr lang="en-US"/>
        </a:p>
      </dgm:t>
    </dgm:pt>
    <dgm:pt modelId="{F4477CDE-9334-AD4C-BFD9-8B78B9DABB82}" type="pres">
      <dgm:prSet presAssocID="{D5753433-D487-7341-A62C-C99CE257FAB5}" presName="root2" presStyleCnt="0"/>
      <dgm:spPr/>
    </dgm:pt>
    <dgm:pt modelId="{43B2DD50-95DB-F045-9126-3EC11074B0F5}" type="pres">
      <dgm:prSet presAssocID="{D5753433-D487-7341-A62C-C99CE257FAB5}" presName="LevelTwoTextNode" presStyleLbl="node3" presStyleIdx="0" presStyleCnt="4" custLinFactNeighborX="1758" custLinFactNeighborY="-214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CED506A-C951-3F4B-A01C-92B4F498E1E1}" type="pres">
      <dgm:prSet presAssocID="{D5753433-D487-7341-A62C-C99CE257FAB5}" presName="level3hierChild" presStyleCnt="0"/>
      <dgm:spPr/>
    </dgm:pt>
    <dgm:pt modelId="{7A45ADCB-FD16-2841-B443-FD22A38E5C1D}" type="pres">
      <dgm:prSet presAssocID="{FCB3CF16-6B43-8744-9FEF-A3D34410204F}" presName="conn2-1" presStyleLbl="parChTrans1D4" presStyleIdx="0" presStyleCnt="3"/>
      <dgm:spPr/>
      <dgm:t>
        <a:bodyPr/>
        <a:lstStyle/>
        <a:p>
          <a:endParaRPr lang="en-US"/>
        </a:p>
      </dgm:t>
    </dgm:pt>
    <dgm:pt modelId="{EAA291B4-D6C8-0849-A7E2-5681659898C4}" type="pres">
      <dgm:prSet presAssocID="{FCB3CF16-6B43-8744-9FEF-A3D34410204F}" presName="connTx" presStyleLbl="parChTrans1D4" presStyleIdx="0" presStyleCnt="3"/>
      <dgm:spPr/>
      <dgm:t>
        <a:bodyPr/>
        <a:lstStyle/>
        <a:p>
          <a:endParaRPr lang="en-US"/>
        </a:p>
      </dgm:t>
    </dgm:pt>
    <dgm:pt modelId="{7794679B-BF46-8D49-B8BC-D993FCF22D9E}" type="pres">
      <dgm:prSet presAssocID="{92AF57FF-1346-E845-AB2C-513B48447FAA}" presName="root2" presStyleCnt="0"/>
      <dgm:spPr/>
    </dgm:pt>
    <dgm:pt modelId="{E92008B5-8B00-A144-8612-C3C34359FBC4}" type="pres">
      <dgm:prSet presAssocID="{92AF57FF-1346-E845-AB2C-513B48447FAA}" presName="LevelTwoTextNode" presStyleLbl="node4" presStyleIdx="0" presStyleCnt="3" custLinFactNeighborX="308" custLinFactNeighborY="-5316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45E21D3-975B-BE4B-A9BF-C9DBDD34A97F}" type="pres">
      <dgm:prSet presAssocID="{92AF57FF-1346-E845-AB2C-513B48447FAA}" presName="level3hierChild" presStyleCnt="0"/>
      <dgm:spPr/>
    </dgm:pt>
    <dgm:pt modelId="{AC717E21-CBC8-6A4D-AAA7-C9952D7B81E1}" type="pres">
      <dgm:prSet presAssocID="{6A01694E-FDFC-C94E-80F6-B6BDFCA5026A}" presName="conn2-1" presStyleLbl="parChTrans1D3" presStyleIdx="1" presStyleCnt="4"/>
      <dgm:spPr/>
      <dgm:t>
        <a:bodyPr/>
        <a:lstStyle/>
        <a:p>
          <a:endParaRPr lang="en-US"/>
        </a:p>
      </dgm:t>
    </dgm:pt>
    <dgm:pt modelId="{17408928-EC17-664C-AEFB-AFBC0E42B907}" type="pres">
      <dgm:prSet presAssocID="{6A01694E-FDFC-C94E-80F6-B6BDFCA5026A}" presName="connTx" presStyleLbl="parChTrans1D3" presStyleIdx="1" presStyleCnt="4"/>
      <dgm:spPr/>
      <dgm:t>
        <a:bodyPr/>
        <a:lstStyle/>
        <a:p>
          <a:endParaRPr lang="en-US"/>
        </a:p>
      </dgm:t>
    </dgm:pt>
    <dgm:pt modelId="{E6F92BB9-9755-6B45-ABB8-96A24BD4F92C}" type="pres">
      <dgm:prSet presAssocID="{4FD87A66-F5A3-6241-B7F5-EA1D62A0D218}" presName="root2" presStyleCnt="0"/>
      <dgm:spPr/>
    </dgm:pt>
    <dgm:pt modelId="{C01B6357-3DA9-4941-A242-827426CDA961}" type="pres">
      <dgm:prSet presAssocID="{4FD87A66-F5A3-6241-B7F5-EA1D62A0D218}" presName="LevelTwoTextNode" presStyleLbl="node3" presStyleIdx="1" presStyleCnt="4" custLinFactNeighborX="1758" custLinFactNeighborY="-1049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71EB5A0-7683-C245-BD92-D4CC5E24FD59}" type="pres">
      <dgm:prSet presAssocID="{4FD87A66-F5A3-6241-B7F5-EA1D62A0D218}" presName="level3hierChild" presStyleCnt="0"/>
      <dgm:spPr/>
    </dgm:pt>
    <dgm:pt modelId="{A322B51E-0E03-AF42-B5E0-BF44978A438E}" type="pres">
      <dgm:prSet presAssocID="{FD3CA5D3-A0C0-6449-A057-B18AF46693A9}" presName="conn2-1" presStyleLbl="parChTrans1D4" presStyleIdx="1" presStyleCnt="3"/>
      <dgm:spPr/>
      <dgm:t>
        <a:bodyPr/>
        <a:lstStyle/>
        <a:p>
          <a:endParaRPr lang="en-US"/>
        </a:p>
      </dgm:t>
    </dgm:pt>
    <dgm:pt modelId="{6F106D8B-DBB4-EC49-972F-72B96A597541}" type="pres">
      <dgm:prSet presAssocID="{FD3CA5D3-A0C0-6449-A057-B18AF46693A9}" presName="connTx" presStyleLbl="parChTrans1D4" presStyleIdx="1" presStyleCnt="3"/>
      <dgm:spPr/>
      <dgm:t>
        <a:bodyPr/>
        <a:lstStyle/>
        <a:p>
          <a:endParaRPr lang="en-US"/>
        </a:p>
      </dgm:t>
    </dgm:pt>
    <dgm:pt modelId="{28A503B5-4E1B-634C-93D7-64EA7449078D}" type="pres">
      <dgm:prSet presAssocID="{54E59540-8BFE-574F-98BB-218BDDB01856}" presName="root2" presStyleCnt="0"/>
      <dgm:spPr/>
    </dgm:pt>
    <dgm:pt modelId="{436DFCEF-10AA-784D-AD6B-96DA9D5B547B}" type="pres">
      <dgm:prSet presAssocID="{54E59540-8BFE-574F-98BB-218BDDB01856}" presName="LevelTwoTextNode" presStyleLbl="node4" presStyleIdx="1" presStyleCnt="3" custLinFactNeighborY="517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0CAA31A-997A-5042-9115-9AEB6FF2196C}" type="pres">
      <dgm:prSet presAssocID="{54E59540-8BFE-574F-98BB-218BDDB01856}" presName="level3hierChild" presStyleCnt="0"/>
      <dgm:spPr/>
    </dgm:pt>
    <dgm:pt modelId="{DBB27E8D-5628-CC4F-81C5-5B6A7891C6DC}" type="pres">
      <dgm:prSet presAssocID="{E49F5EC7-169C-C643-B146-97A33AF79832}" presName="conn2-1" presStyleLbl="parChTrans1D4" presStyleIdx="2" presStyleCnt="3"/>
      <dgm:spPr/>
      <dgm:t>
        <a:bodyPr/>
        <a:lstStyle/>
        <a:p>
          <a:endParaRPr lang="en-US"/>
        </a:p>
      </dgm:t>
    </dgm:pt>
    <dgm:pt modelId="{97C7175B-4578-2146-B27D-8F1BC4385693}" type="pres">
      <dgm:prSet presAssocID="{E49F5EC7-169C-C643-B146-97A33AF79832}" presName="connTx" presStyleLbl="parChTrans1D4" presStyleIdx="2" presStyleCnt="3"/>
      <dgm:spPr/>
      <dgm:t>
        <a:bodyPr/>
        <a:lstStyle/>
        <a:p>
          <a:endParaRPr lang="en-US"/>
        </a:p>
      </dgm:t>
    </dgm:pt>
    <dgm:pt modelId="{F0D845D1-1D45-F246-83D7-E980BB499706}" type="pres">
      <dgm:prSet presAssocID="{88CC1F09-54E2-CF44-B63B-16F7EC4A5F82}" presName="root2" presStyleCnt="0"/>
      <dgm:spPr/>
    </dgm:pt>
    <dgm:pt modelId="{7F5B772F-7E34-4F4B-9189-2B6F11371CCE}" type="pres">
      <dgm:prSet presAssocID="{88CC1F09-54E2-CF44-B63B-16F7EC4A5F82}" presName="LevelTwoTextNode" presStyleLbl="node4" presStyleIdx="2" presStyleCnt="3" custLinFactNeighborY="5174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D184C4B-E50D-B64E-BF4F-E4EA02E75A54}" type="pres">
      <dgm:prSet presAssocID="{88CC1F09-54E2-CF44-B63B-16F7EC4A5F82}" presName="level3hierChild" presStyleCnt="0"/>
      <dgm:spPr/>
    </dgm:pt>
    <dgm:pt modelId="{8E80A8E2-F8F2-2D46-915E-0144442FCF6C}" type="pres">
      <dgm:prSet presAssocID="{C9F21CCB-5B45-C544-94D5-B6B630283685}" presName="conn2-1" presStyleLbl="parChTrans1D2" presStyleIdx="1" presStyleCnt="2"/>
      <dgm:spPr/>
      <dgm:t>
        <a:bodyPr/>
        <a:lstStyle/>
        <a:p>
          <a:endParaRPr lang="en-US"/>
        </a:p>
      </dgm:t>
    </dgm:pt>
    <dgm:pt modelId="{5404D2DA-F00C-EE45-A453-3E3F9390C062}" type="pres">
      <dgm:prSet presAssocID="{C9F21CCB-5B45-C544-94D5-B6B630283685}" presName="connTx" presStyleLbl="parChTrans1D2" presStyleIdx="1" presStyleCnt="2"/>
      <dgm:spPr/>
      <dgm:t>
        <a:bodyPr/>
        <a:lstStyle/>
        <a:p>
          <a:endParaRPr lang="en-US"/>
        </a:p>
      </dgm:t>
    </dgm:pt>
    <dgm:pt modelId="{F613F41D-8DDA-0D44-98AC-D1F58FE99436}" type="pres">
      <dgm:prSet presAssocID="{8979E825-47D2-0E41-B60F-341983C090D6}" presName="root2" presStyleCnt="0"/>
      <dgm:spPr/>
    </dgm:pt>
    <dgm:pt modelId="{C3940B02-7D1E-984F-B01F-FE4F9A757FE7}" type="pres">
      <dgm:prSet presAssocID="{8979E825-47D2-0E41-B60F-341983C090D6}" presName="LevelTwoTextNode" presStyleLbl="node2" presStyleIdx="1" presStyleCnt="2" custLinFactNeighborX="-1876" custLinFactNeighborY="-242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E1B6F14-286E-B94E-945E-541D774C107F}" type="pres">
      <dgm:prSet presAssocID="{8979E825-47D2-0E41-B60F-341983C090D6}" presName="level3hierChild" presStyleCnt="0"/>
      <dgm:spPr/>
    </dgm:pt>
    <dgm:pt modelId="{12B79441-1093-544A-9520-9C66045F620B}" type="pres">
      <dgm:prSet presAssocID="{D86E8571-73B8-6D4D-A589-10DB2F2915A9}" presName="conn2-1" presStyleLbl="parChTrans1D3" presStyleIdx="2" presStyleCnt="4"/>
      <dgm:spPr/>
      <dgm:t>
        <a:bodyPr/>
        <a:lstStyle/>
        <a:p>
          <a:endParaRPr lang="en-US"/>
        </a:p>
      </dgm:t>
    </dgm:pt>
    <dgm:pt modelId="{AE7BEDB3-7B81-D044-B23C-C4B447FD9659}" type="pres">
      <dgm:prSet presAssocID="{D86E8571-73B8-6D4D-A589-10DB2F2915A9}" presName="connTx" presStyleLbl="parChTrans1D3" presStyleIdx="2" presStyleCnt="4"/>
      <dgm:spPr/>
      <dgm:t>
        <a:bodyPr/>
        <a:lstStyle/>
        <a:p>
          <a:endParaRPr lang="en-US"/>
        </a:p>
      </dgm:t>
    </dgm:pt>
    <dgm:pt modelId="{BACA9135-5068-A149-8F0B-786FB69209A9}" type="pres">
      <dgm:prSet presAssocID="{E2D53739-16EB-454C-BB9A-3BE78EC3A736}" presName="root2" presStyleCnt="0"/>
      <dgm:spPr/>
    </dgm:pt>
    <dgm:pt modelId="{0FE010EE-8535-8745-971B-69BE24713C44}" type="pres">
      <dgm:prSet presAssocID="{E2D53739-16EB-454C-BB9A-3BE78EC3A736}" presName="LevelTwoTextNode" presStyleLbl="node3" presStyleIdx="2" presStyleCnt="4" custLinFactNeighborX="1758" custLinFactNeighborY="583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313307D-26F9-EF4D-B4C4-28776EDF861F}" type="pres">
      <dgm:prSet presAssocID="{E2D53739-16EB-454C-BB9A-3BE78EC3A736}" presName="level3hierChild" presStyleCnt="0"/>
      <dgm:spPr/>
    </dgm:pt>
    <dgm:pt modelId="{BE8AC8C3-98B1-5340-B412-6F8DFAD0BB0B}" type="pres">
      <dgm:prSet presAssocID="{B3687351-8CC8-B544-8FBD-793082CCCF99}" presName="conn2-1" presStyleLbl="parChTrans1D3" presStyleIdx="3" presStyleCnt="4"/>
      <dgm:spPr/>
      <dgm:t>
        <a:bodyPr/>
        <a:lstStyle/>
        <a:p>
          <a:endParaRPr lang="en-US"/>
        </a:p>
      </dgm:t>
    </dgm:pt>
    <dgm:pt modelId="{349B8574-3AD9-5346-AEBA-22C9B41860F0}" type="pres">
      <dgm:prSet presAssocID="{B3687351-8CC8-B544-8FBD-793082CCCF99}" presName="connTx" presStyleLbl="parChTrans1D3" presStyleIdx="3" presStyleCnt="4"/>
      <dgm:spPr/>
      <dgm:t>
        <a:bodyPr/>
        <a:lstStyle/>
        <a:p>
          <a:endParaRPr lang="en-US"/>
        </a:p>
      </dgm:t>
    </dgm:pt>
    <dgm:pt modelId="{82B82C6C-8CB3-2147-A633-C5A1529C792F}" type="pres">
      <dgm:prSet presAssocID="{2BF7B1ED-1574-7B46-B652-E2DD6DAB0642}" presName="root2" presStyleCnt="0"/>
      <dgm:spPr/>
    </dgm:pt>
    <dgm:pt modelId="{DDD30D50-26A5-6C4A-B925-41FF1BA46222}" type="pres">
      <dgm:prSet presAssocID="{2BF7B1ED-1574-7B46-B652-E2DD6DAB0642}" presName="LevelTwoTextNode" presStyleLbl="node3" presStyleIdx="3" presStyleCnt="4" custLinFactNeighborX="1758" custLinFactNeighborY="5738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9CCD55C-2B72-0F40-9FF8-B9D603C60D88}" type="pres">
      <dgm:prSet presAssocID="{2BF7B1ED-1574-7B46-B652-E2DD6DAB0642}" presName="level3hierChild" presStyleCnt="0"/>
      <dgm:spPr/>
    </dgm:pt>
  </dgm:ptLst>
  <dgm:cxnLst>
    <dgm:cxn modelId="{16C984A0-7CBC-9549-8146-56869DBAF25F}" srcId="{D5753433-D487-7341-A62C-C99CE257FAB5}" destId="{92AF57FF-1346-E845-AB2C-513B48447FAA}" srcOrd="0" destOrd="0" parTransId="{FCB3CF16-6B43-8744-9FEF-A3D34410204F}" sibTransId="{C5FB49F6-5A52-814E-9115-0A7D7D90884C}"/>
    <dgm:cxn modelId="{C7A24454-CD7B-8D47-A014-9D314E846AA7}" type="presOf" srcId="{B3687351-8CC8-B544-8FBD-793082CCCF99}" destId="{349B8574-3AD9-5346-AEBA-22C9B41860F0}" srcOrd="1" destOrd="0" presId="urn:microsoft.com/office/officeart/2005/8/layout/hierarchy2"/>
    <dgm:cxn modelId="{B31A9BD2-9691-FF42-BB77-E9431952A617}" type="presOf" srcId="{C9F21CCB-5B45-C544-94D5-B6B630283685}" destId="{8E80A8E2-F8F2-2D46-915E-0144442FCF6C}" srcOrd="0" destOrd="0" presId="urn:microsoft.com/office/officeart/2005/8/layout/hierarchy2"/>
    <dgm:cxn modelId="{015A1470-933F-904F-B7BD-2D5299275E29}" srcId="{1480C9BB-F8E6-874A-9288-85B8B490EC91}" destId="{A4E799F2-C5F2-9541-A74C-1711CF1BAF4A}" srcOrd="0" destOrd="0" parTransId="{2BB955D0-1630-F04C-85EC-09C68B1D73BB}" sibTransId="{633E872C-DEC0-0449-9D0F-68025A123DED}"/>
    <dgm:cxn modelId="{13B923AB-02EB-1846-8BD5-19072ED082F8}" type="presOf" srcId="{A0B2F2D8-00A2-034A-930D-71AEDB616C2C}" destId="{0854019E-5DC4-A049-8967-6AB58168BD3B}" srcOrd="0" destOrd="0" presId="urn:microsoft.com/office/officeart/2005/8/layout/hierarchy2"/>
    <dgm:cxn modelId="{E515F38D-CDBB-9A48-AEEB-F9CBF1E721EA}" srcId="{1480C9BB-F8E6-874A-9288-85B8B490EC91}" destId="{8979E825-47D2-0E41-B60F-341983C090D6}" srcOrd="1" destOrd="0" parTransId="{C9F21CCB-5B45-C544-94D5-B6B630283685}" sibTransId="{027D17CF-6478-3048-A000-F7DFFC3B1BAE}"/>
    <dgm:cxn modelId="{2C19B5C3-76A5-9646-BE54-786EA4095479}" type="presOf" srcId="{E2D53739-16EB-454C-BB9A-3BE78EC3A736}" destId="{0FE010EE-8535-8745-971B-69BE24713C44}" srcOrd="0" destOrd="0" presId="urn:microsoft.com/office/officeart/2005/8/layout/hierarchy2"/>
    <dgm:cxn modelId="{7A9AA668-F510-8F49-8A1C-AC78F858B806}" type="presOf" srcId="{FF0BE5E2-A395-0F44-A470-01FA09A4EF11}" destId="{D482B826-BF8A-1A4B-8E42-B209C3158B32}" srcOrd="1" destOrd="0" presId="urn:microsoft.com/office/officeart/2005/8/layout/hierarchy2"/>
    <dgm:cxn modelId="{B9C2EFD6-141A-B74F-A964-CDD90FAC27B7}" type="presOf" srcId="{C9F21CCB-5B45-C544-94D5-B6B630283685}" destId="{5404D2DA-F00C-EE45-A453-3E3F9390C062}" srcOrd="1" destOrd="0" presId="urn:microsoft.com/office/officeart/2005/8/layout/hierarchy2"/>
    <dgm:cxn modelId="{8047A819-B79A-C040-B92B-68FE9F6F0F0B}" type="presOf" srcId="{E49F5EC7-169C-C643-B146-97A33AF79832}" destId="{DBB27E8D-5628-CC4F-81C5-5B6A7891C6DC}" srcOrd="0" destOrd="0" presId="urn:microsoft.com/office/officeart/2005/8/layout/hierarchy2"/>
    <dgm:cxn modelId="{8726FFF3-C559-7740-85F3-509E6FF04B2A}" srcId="{4FD87A66-F5A3-6241-B7F5-EA1D62A0D218}" destId="{88CC1F09-54E2-CF44-B63B-16F7EC4A5F82}" srcOrd="1" destOrd="0" parTransId="{E49F5EC7-169C-C643-B146-97A33AF79832}" sibTransId="{80EE636E-73AA-D94A-836A-968E29FF1DEB}"/>
    <dgm:cxn modelId="{4715D238-2E10-4041-9390-F47C9F0215EA}" type="presOf" srcId="{4FD87A66-F5A3-6241-B7F5-EA1D62A0D218}" destId="{C01B6357-3DA9-4941-A242-827426CDA961}" srcOrd="0" destOrd="0" presId="urn:microsoft.com/office/officeart/2005/8/layout/hierarchy2"/>
    <dgm:cxn modelId="{309C4B97-665C-394A-8701-30302B67DFE3}" type="presOf" srcId="{2BB955D0-1630-F04C-85EC-09C68B1D73BB}" destId="{5C17097E-EFE4-134A-9203-1E27ECDDB6A0}" srcOrd="1" destOrd="0" presId="urn:microsoft.com/office/officeart/2005/8/layout/hierarchy2"/>
    <dgm:cxn modelId="{3756071B-2ABB-8443-BC93-81465B97BF0A}" type="presOf" srcId="{92AF57FF-1346-E845-AB2C-513B48447FAA}" destId="{E92008B5-8B00-A144-8612-C3C34359FBC4}" srcOrd="0" destOrd="0" presId="urn:microsoft.com/office/officeart/2005/8/layout/hierarchy2"/>
    <dgm:cxn modelId="{F0DE17C2-8F32-7745-91A8-B8C3E64DC8B8}" srcId="{8979E825-47D2-0E41-B60F-341983C090D6}" destId="{2BF7B1ED-1574-7B46-B652-E2DD6DAB0642}" srcOrd="1" destOrd="0" parTransId="{B3687351-8CC8-B544-8FBD-793082CCCF99}" sibTransId="{6A8C2E72-A46C-BF49-A675-96A148EC8042}"/>
    <dgm:cxn modelId="{D24E9977-EBE1-1B4F-97CA-9C9F4FABBE9D}" type="presOf" srcId="{E49F5EC7-169C-C643-B146-97A33AF79832}" destId="{97C7175B-4578-2146-B27D-8F1BC4385693}" srcOrd="1" destOrd="0" presId="urn:microsoft.com/office/officeart/2005/8/layout/hierarchy2"/>
    <dgm:cxn modelId="{5B73BF13-1017-764D-8F61-0AF93030B9DF}" type="presOf" srcId="{6A01694E-FDFC-C94E-80F6-B6BDFCA5026A}" destId="{AC717E21-CBC8-6A4D-AAA7-C9952D7B81E1}" srcOrd="0" destOrd="0" presId="urn:microsoft.com/office/officeart/2005/8/layout/hierarchy2"/>
    <dgm:cxn modelId="{67DC11A3-5353-8749-B613-4774C7083111}" type="presOf" srcId="{6A01694E-FDFC-C94E-80F6-B6BDFCA5026A}" destId="{17408928-EC17-664C-AEFB-AFBC0E42B907}" srcOrd="1" destOrd="0" presId="urn:microsoft.com/office/officeart/2005/8/layout/hierarchy2"/>
    <dgm:cxn modelId="{13ED7D9D-FE67-FC4A-AEF0-DC6C2B395088}" type="presOf" srcId="{B3687351-8CC8-B544-8FBD-793082CCCF99}" destId="{BE8AC8C3-98B1-5340-B412-6F8DFAD0BB0B}" srcOrd="0" destOrd="0" presId="urn:microsoft.com/office/officeart/2005/8/layout/hierarchy2"/>
    <dgm:cxn modelId="{D45A409F-AAFF-F54D-A936-CEF31DBFD585}" type="presOf" srcId="{88CC1F09-54E2-CF44-B63B-16F7EC4A5F82}" destId="{7F5B772F-7E34-4F4B-9189-2B6F11371CCE}" srcOrd="0" destOrd="0" presId="urn:microsoft.com/office/officeart/2005/8/layout/hierarchy2"/>
    <dgm:cxn modelId="{AFC32B62-B564-2B49-A389-3AD4D550C62E}" type="presOf" srcId="{FCB3CF16-6B43-8744-9FEF-A3D34410204F}" destId="{7A45ADCB-FD16-2841-B443-FD22A38E5C1D}" srcOrd="0" destOrd="0" presId="urn:microsoft.com/office/officeart/2005/8/layout/hierarchy2"/>
    <dgm:cxn modelId="{485FA2E9-5852-5E4D-B292-1FCB86C78BE8}" type="presOf" srcId="{D86E8571-73B8-6D4D-A589-10DB2F2915A9}" destId="{AE7BEDB3-7B81-D044-B23C-C4B447FD9659}" srcOrd="1" destOrd="0" presId="urn:microsoft.com/office/officeart/2005/8/layout/hierarchy2"/>
    <dgm:cxn modelId="{4BC93D75-807B-774F-857D-ABD2AF4D98B4}" type="presOf" srcId="{FCB3CF16-6B43-8744-9FEF-A3D34410204F}" destId="{EAA291B4-D6C8-0849-A7E2-5681659898C4}" srcOrd="1" destOrd="0" presId="urn:microsoft.com/office/officeart/2005/8/layout/hierarchy2"/>
    <dgm:cxn modelId="{24B6BA8C-AB69-9145-9E9F-ABEEBC8F1999}" type="presOf" srcId="{2BF7B1ED-1574-7B46-B652-E2DD6DAB0642}" destId="{DDD30D50-26A5-6C4A-B925-41FF1BA46222}" srcOrd="0" destOrd="0" presId="urn:microsoft.com/office/officeart/2005/8/layout/hierarchy2"/>
    <dgm:cxn modelId="{F22463B6-D584-F94D-AA87-343E6E91D7E4}" srcId="{8979E825-47D2-0E41-B60F-341983C090D6}" destId="{E2D53739-16EB-454C-BB9A-3BE78EC3A736}" srcOrd="0" destOrd="0" parTransId="{D86E8571-73B8-6D4D-A589-10DB2F2915A9}" sibTransId="{E4830CE7-4DBA-DA41-B831-2381D86BD921}"/>
    <dgm:cxn modelId="{0B75C2DF-3610-C241-B933-8DE3CE540594}" srcId="{A4E799F2-C5F2-9541-A74C-1711CF1BAF4A}" destId="{4FD87A66-F5A3-6241-B7F5-EA1D62A0D218}" srcOrd="1" destOrd="0" parTransId="{6A01694E-FDFC-C94E-80F6-B6BDFCA5026A}" sibTransId="{14CBC8D3-AC82-1B4E-8E69-3B0DFBF7BFC8}"/>
    <dgm:cxn modelId="{F40AAC62-3B33-334D-A225-EA1BCC10A0B7}" srcId="{4FD87A66-F5A3-6241-B7F5-EA1D62A0D218}" destId="{54E59540-8BFE-574F-98BB-218BDDB01856}" srcOrd="0" destOrd="0" parTransId="{FD3CA5D3-A0C0-6449-A057-B18AF46693A9}" sibTransId="{2208C906-BD46-9F43-B840-DF7225FAE5C4}"/>
    <dgm:cxn modelId="{02544422-5AFE-4846-BA16-426CD87E9DFF}" type="presOf" srcId="{A4E799F2-C5F2-9541-A74C-1711CF1BAF4A}" destId="{0C3F54A6-2FAF-CF48-AEDF-6E7B68C4E21E}" srcOrd="0" destOrd="0" presId="urn:microsoft.com/office/officeart/2005/8/layout/hierarchy2"/>
    <dgm:cxn modelId="{056D12A9-40D7-0945-8CFD-808106F94409}" type="presOf" srcId="{FD3CA5D3-A0C0-6449-A057-B18AF46693A9}" destId="{6F106D8B-DBB4-EC49-972F-72B96A597541}" srcOrd="1" destOrd="0" presId="urn:microsoft.com/office/officeart/2005/8/layout/hierarchy2"/>
    <dgm:cxn modelId="{A3C4E0A2-8BAD-834B-A3BA-24083582195B}" type="presOf" srcId="{54E59540-8BFE-574F-98BB-218BDDB01856}" destId="{436DFCEF-10AA-784D-AD6B-96DA9D5B547B}" srcOrd="0" destOrd="0" presId="urn:microsoft.com/office/officeart/2005/8/layout/hierarchy2"/>
    <dgm:cxn modelId="{5AFF5094-3A70-F549-BD0E-2115EED938D8}" srcId="{A0B2F2D8-00A2-034A-930D-71AEDB616C2C}" destId="{1480C9BB-F8E6-874A-9288-85B8B490EC91}" srcOrd="0" destOrd="0" parTransId="{15B8000D-AAF6-8A46-B493-59128EA97CF7}" sibTransId="{A1955E24-0525-0543-92BB-D72E62810D24}"/>
    <dgm:cxn modelId="{1CB00916-AD48-7E4F-BE7A-66B5EE863BCC}" type="presOf" srcId="{D86E8571-73B8-6D4D-A589-10DB2F2915A9}" destId="{12B79441-1093-544A-9520-9C66045F620B}" srcOrd="0" destOrd="0" presId="urn:microsoft.com/office/officeart/2005/8/layout/hierarchy2"/>
    <dgm:cxn modelId="{8EA943DD-49AF-864D-A46E-E87DBB8EF073}" type="presOf" srcId="{FD3CA5D3-A0C0-6449-A057-B18AF46693A9}" destId="{A322B51E-0E03-AF42-B5E0-BF44978A438E}" srcOrd="0" destOrd="0" presId="urn:microsoft.com/office/officeart/2005/8/layout/hierarchy2"/>
    <dgm:cxn modelId="{DE297C6C-8CBD-7946-B38F-15AE75B4DFE8}" type="presOf" srcId="{8979E825-47D2-0E41-B60F-341983C090D6}" destId="{C3940B02-7D1E-984F-B01F-FE4F9A757FE7}" srcOrd="0" destOrd="0" presId="urn:microsoft.com/office/officeart/2005/8/layout/hierarchy2"/>
    <dgm:cxn modelId="{DA98C720-9C71-6A40-BF13-8F5E46F8BECB}" type="presOf" srcId="{FF0BE5E2-A395-0F44-A470-01FA09A4EF11}" destId="{C3BF6016-B413-2044-902C-E5E3D7F14226}" srcOrd="0" destOrd="0" presId="urn:microsoft.com/office/officeart/2005/8/layout/hierarchy2"/>
    <dgm:cxn modelId="{786BC370-12D6-884E-AD5B-57B49F69EA0E}" type="presOf" srcId="{1480C9BB-F8E6-874A-9288-85B8B490EC91}" destId="{8D0D27FF-84BA-A64B-B31E-AF2AB6592ADD}" srcOrd="0" destOrd="0" presId="urn:microsoft.com/office/officeart/2005/8/layout/hierarchy2"/>
    <dgm:cxn modelId="{3A67AF26-C734-8448-8BC4-3B2EF1318F4A}" type="presOf" srcId="{2BB955D0-1630-F04C-85EC-09C68B1D73BB}" destId="{2CAC7AD4-3DAB-BD43-8483-FAEF91F769DD}" srcOrd="0" destOrd="0" presId="urn:microsoft.com/office/officeart/2005/8/layout/hierarchy2"/>
    <dgm:cxn modelId="{E8C23A36-E922-B448-BDCE-F0E5E6FE874A}" type="presOf" srcId="{D5753433-D487-7341-A62C-C99CE257FAB5}" destId="{43B2DD50-95DB-F045-9126-3EC11074B0F5}" srcOrd="0" destOrd="0" presId="urn:microsoft.com/office/officeart/2005/8/layout/hierarchy2"/>
    <dgm:cxn modelId="{BC66F639-1E52-B943-8E55-D56A9C44F979}" srcId="{A4E799F2-C5F2-9541-A74C-1711CF1BAF4A}" destId="{D5753433-D487-7341-A62C-C99CE257FAB5}" srcOrd="0" destOrd="0" parTransId="{FF0BE5E2-A395-0F44-A470-01FA09A4EF11}" sibTransId="{7301C33A-B463-F246-8964-449C50912161}"/>
    <dgm:cxn modelId="{AE6B465C-D08F-9646-A7A9-A8D8FC7C1F8B}" type="presParOf" srcId="{0854019E-5DC4-A049-8967-6AB58168BD3B}" destId="{3B149CB0-23BA-044B-AE8E-0AA66519C947}" srcOrd="0" destOrd="0" presId="urn:microsoft.com/office/officeart/2005/8/layout/hierarchy2"/>
    <dgm:cxn modelId="{121DF188-E396-DA45-AE63-FC74B3B14D5A}" type="presParOf" srcId="{3B149CB0-23BA-044B-AE8E-0AA66519C947}" destId="{8D0D27FF-84BA-A64B-B31E-AF2AB6592ADD}" srcOrd="0" destOrd="0" presId="urn:microsoft.com/office/officeart/2005/8/layout/hierarchy2"/>
    <dgm:cxn modelId="{3E65726E-3644-1D49-B11E-F31E3B17386D}" type="presParOf" srcId="{3B149CB0-23BA-044B-AE8E-0AA66519C947}" destId="{4C709CD7-9961-4341-968E-8E110974947F}" srcOrd="1" destOrd="0" presId="urn:microsoft.com/office/officeart/2005/8/layout/hierarchy2"/>
    <dgm:cxn modelId="{B35AE436-AE59-5140-9591-7E96C7A43EDF}" type="presParOf" srcId="{4C709CD7-9961-4341-968E-8E110974947F}" destId="{2CAC7AD4-3DAB-BD43-8483-FAEF91F769DD}" srcOrd="0" destOrd="0" presId="urn:microsoft.com/office/officeart/2005/8/layout/hierarchy2"/>
    <dgm:cxn modelId="{4511EE12-F567-2B47-9AC6-61E2983FDD5F}" type="presParOf" srcId="{2CAC7AD4-3DAB-BD43-8483-FAEF91F769DD}" destId="{5C17097E-EFE4-134A-9203-1E27ECDDB6A0}" srcOrd="0" destOrd="0" presId="urn:microsoft.com/office/officeart/2005/8/layout/hierarchy2"/>
    <dgm:cxn modelId="{5BCF2A12-660B-D344-9B0E-DAF4E5C6D6F4}" type="presParOf" srcId="{4C709CD7-9961-4341-968E-8E110974947F}" destId="{7F2E9DE5-A24F-E343-B055-C951D73A6BAE}" srcOrd="1" destOrd="0" presId="urn:microsoft.com/office/officeart/2005/8/layout/hierarchy2"/>
    <dgm:cxn modelId="{61701E68-0057-3F40-AB47-0CD50880563E}" type="presParOf" srcId="{7F2E9DE5-A24F-E343-B055-C951D73A6BAE}" destId="{0C3F54A6-2FAF-CF48-AEDF-6E7B68C4E21E}" srcOrd="0" destOrd="0" presId="urn:microsoft.com/office/officeart/2005/8/layout/hierarchy2"/>
    <dgm:cxn modelId="{1CBFF890-43C7-524D-BF07-14B175E5C385}" type="presParOf" srcId="{7F2E9DE5-A24F-E343-B055-C951D73A6BAE}" destId="{25A57213-F024-8941-A6A7-AE9A696DA4F0}" srcOrd="1" destOrd="0" presId="urn:microsoft.com/office/officeart/2005/8/layout/hierarchy2"/>
    <dgm:cxn modelId="{BE13BD5A-26D4-E64D-A0FF-23D6F2FA4AF3}" type="presParOf" srcId="{25A57213-F024-8941-A6A7-AE9A696DA4F0}" destId="{C3BF6016-B413-2044-902C-E5E3D7F14226}" srcOrd="0" destOrd="0" presId="urn:microsoft.com/office/officeart/2005/8/layout/hierarchy2"/>
    <dgm:cxn modelId="{5935700A-EC3A-1745-8A2F-2B75DB3BA332}" type="presParOf" srcId="{C3BF6016-B413-2044-902C-E5E3D7F14226}" destId="{D482B826-BF8A-1A4B-8E42-B209C3158B32}" srcOrd="0" destOrd="0" presId="urn:microsoft.com/office/officeart/2005/8/layout/hierarchy2"/>
    <dgm:cxn modelId="{5E852C92-CAA7-0641-8773-55F569C61D3E}" type="presParOf" srcId="{25A57213-F024-8941-A6A7-AE9A696DA4F0}" destId="{F4477CDE-9334-AD4C-BFD9-8B78B9DABB82}" srcOrd="1" destOrd="0" presId="urn:microsoft.com/office/officeart/2005/8/layout/hierarchy2"/>
    <dgm:cxn modelId="{E3F42F2A-57EB-2146-A288-D2DB31C8DF68}" type="presParOf" srcId="{F4477CDE-9334-AD4C-BFD9-8B78B9DABB82}" destId="{43B2DD50-95DB-F045-9126-3EC11074B0F5}" srcOrd="0" destOrd="0" presId="urn:microsoft.com/office/officeart/2005/8/layout/hierarchy2"/>
    <dgm:cxn modelId="{EBC3461E-1DBF-D941-B9C8-3980576A2228}" type="presParOf" srcId="{F4477CDE-9334-AD4C-BFD9-8B78B9DABB82}" destId="{3CED506A-C951-3F4B-A01C-92B4F498E1E1}" srcOrd="1" destOrd="0" presId="urn:microsoft.com/office/officeart/2005/8/layout/hierarchy2"/>
    <dgm:cxn modelId="{3170CE9B-1F02-4840-ACA0-42EBE42969CD}" type="presParOf" srcId="{3CED506A-C951-3F4B-A01C-92B4F498E1E1}" destId="{7A45ADCB-FD16-2841-B443-FD22A38E5C1D}" srcOrd="0" destOrd="0" presId="urn:microsoft.com/office/officeart/2005/8/layout/hierarchy2"/>
    <dgm:cxn modelId="{90FBC45F-6D0D-E24B-BD3D-45C322809C50}" type="presParOf" srcId="{7A45ADCB-FD16-2841-B443-FD22A38E5C1D}" destId="{EAA291B4-D6C8-0849-A7E2-5681659898C4}" srcOrd="0" destOrd="0" presId="urn:microsoft.com/office/officeart/2005/8/layout/hierarchy2"/>
    <dgm:cxn modelId="{89A6E22A-1DCB-0B41-B313-D24C35303086}" type="presParOf" srcId="{3CED506A-C951-3F4B-A01C-92B4F498E1E1}" destId="{7794679B-BF46-8D49-B8BC-D993FCF22D9E}" srcOrd="1" destOrd="0" presId="urn:microsoft.com/office/officeart/2005/8/layout/hierarchy2"/>
    <dgm:cxn modelId="{7C389CBC-0A63-994F-89EC-4E18A809E5B6}" type="presParOf" srcId="{7794679B-BF46-8D49-B8BC-D993FCF22D9E}" destId="{E92008B5-8B00-A144-8612-C3C34359FBC4}" srcOrd="0" destOrd="0" presId="urn:microsoft.com/office/officeart/2005/8/layout/hierarchy2"/>
    <dgm:cxn modelId="{45D7C53E-4279-4A4D-9104-4D0B6A0DA82C}" type="presParOf" srcId="{7794679B-BF46-8D49-B8BC-D993FCF22D9E}" destId="{845E21D3-975B-BE4B-A9BF-C9DBDD34A97F}" srcOrd="1" destOrd="0" presId="urn:microsoft.com/office/officeart/2005/8/layout/hierarchy2"/>
    <dgm:cxn modelId="{9237DADC-77F7-CE42-AC22-4936EE1C5958}" type="presParOf" srcId="{25A57213-F024-8941-A6A7-AE9A696DA4F0}" destId="{AC717E21-CBC8-6A4D-AAA7-C9952D7B81E1}" srcOrd="2" destOrd="0" presId="urn:microsoft.com/office/officeart/2005/8/layout/hierarchy2"/>
    <dgm:cxn modelId="{B7608A98-D58F-E849-B202-7AFE4E6E6955}" type="presParOf" srcId="{AC717E21-CBC8-6A4D-AAA7-C9952D7B81E1}" destId="{17408928-EC17-664C-AEFB-AFBC0E42B907}" srcOrd="0" destOrd="0" presId="urn:microsoft.com/office/officeart/2005/8/layout/hierarchy2"/>
    <dgm:cxn modelId="{FA481992-36C4-4E44-83CF-8B6A64504028}" type="presParOf" srcId="{25A57213-F024-8941-A6A7-AE9A696DA4F0}" destId="{E6F92BB9-9755-6B45-ABB8-96A24BD4F92C}" srcOrd="3" destOrd="0" presId="urn:microsoft.com/office/officeart/2005/8/layout/hierarchy2"/>
    <dgm:cxn modelId="{81FCD406-2A45-3140-8E36-63E90FB0C5D9}" type="presParOf" srcId="{E6F92BB9-9755-6B45-ABB8-96A24BD4F92C}" destId="{C01B6357-3DA9-4941-A242-827426CDA961}" srcOrd="0" destOrd="0" presId="urn:microsoft.com/office/officeart/2005/8/layout/hierarchy2"/>
    <dgm:cxn modelId="{27298A2B-9565-D342-BCFE-C96D1F87CA41}" type="presParOf" srcId="{E6F92BB9-9755-6B45-ABB8-96A24BD4F92C}" destId="{571EB5A0-7683-C245-BD92-D4CC5E24FD59}" srcOrd="1" destOrd="0" presId="urn:microsoft.com/office/officeart/2005/8/layout/hierarchy2"/>
    <dgm:cxn modelId="{47629DFD-D126-014E-8426-4BA9D114614B}" type="presParOf" srcId="{571EB5A0-7683-C245-BD92-D4CC5E24FD59}" destId="{A322B51E-0E03-AF42-B5E0-BF44978A438E}" srcOrd="0" destOrd="0" presId="urn:microsoft.com/office/officeart/2005/8/layout/hierarchy2"/>
    <dgm:cxn modelId="{FC409965-D848-F343-8660-A7980EE8C735}" type="presParOf" srcId="{A322B51E-0E03-AF42-B5E0-BF44978A438E}" destId="{6F106D8B-DBB4-EC49-972F-72B96A597541}" srcOrd="0" destOrd="0" presId="urn:microsoft.com/office/officeart/2005/8/layout/hierarchy2"/>
    <dgm:cxn modelId="{88EC045A-2C2D-604F-AE6D-7C7B9891CD04}" type="presParOf" srcId="{571EB5A0-7683-C245-BD92-D4CC5E24FD59}" destId="{28A503B5-4E1B-634C-93D7-64EA7449078D}" srcOrd="1" destOrd="0" presId="urn:microsoft.com/office/officeart/2005/8/layout/hierarchy2"/>
    <dgm:cxn modelId="{573AD71B-770F-0D4B-8156-673A8E15CDC0}" type="presParOf" srcId="{28A503B5-4E1B-634C-93D7-64EA7449078D}" destId="{436DFCEF-10AA-784D-AD6B-96DA9D5B547B}" srcOrd="0" destOrd="0" presId="urn:microsoft.com/office/officeart/2005/8/layout/hierarchy2"/>
    <dgm:cxn modelId="{C366A376-D443-F24B-A389-6A1B93E53110}" type="presParOf" srcId="{28A503B5-4E1B-634C-93D7-64EA7449078D}" destId="{80CAA31A-997A-5042-9115-9AEB6FF2196C}" srcOrd="1" destOrd="0" presId="urn:microsoft.com/office/officeart/2005/8/layout/hierarchy2"/>
    <dgm:cxn modelId="{5C600D81-01EA-244F-B669-4FE3A99C4FE0}" type="presParOf" srcId="{571EB5A0-7683-C245-BD92-D4CC5E24FD59}" destId="{DBB27E8D-5628-CC4F-81C5-5B6A7891C6DC}" srcOrd="2" destOrd="0" presId="urn:microsoft.com/office/officeart/2005/8/layout/hierarchy2"/>
    <dgm:cxn modelId="{839D6CBA-BA58-844A-A05E-E49B6A9512D2}" type="presParOf" srcId="{DBB27E8D-5628-CC4F-81C5-5B6A7891C6DC}" destId="{97C7175B-4578-2146-B27D-8F1BC4385693}" srcOrd="0" destOrd="0" presId="urn:microsoft.com/office/officeart/2005/8/layout/hierarchy2"/>
    <dgm:cxn modelId="{9AEA6146-63F0-D948-BAB5-A060A742ED22}" type="presParOf" srcId="{571EB5A0-7683-C245-BD92-D4CC5E24FD59}" destId="{F0D845D1-1D45-F246-83D7-E980BB499706}" srcOrd="3" destOrd="0" presId="urn:microsoft.com/office/officeart/2005/8/layout/hierarchy2"/>
    <dgm:cxn modelId="{3C2FA17D-3484-8A49-A07E-CAD0FB95C089}" type="presParOf" srcId="{F0D845D1-1D45-F246-83D7-E980BB499706}" destId="{7F5B772F-7E34-4F4B-9189-2B6F11371CCE}" srcOrd="0" destOrd="0" presId="urn:microsoft.com/office/officeart/2005/8/layout/hierarchy2"/>
    <dgm:cxn modelId="{307E91EC-5B20-C641-B489-73DED4A9711A}" type="presParOf" srcId="{F0D845D1-1D45-F246-83D7-E980BB499706}" destId="{CD184C4B-E50D-B64E-BF4F-E4EA02E75A54}" srcOrd="1" destOrd="0" presId="urn:microsoft.com/office/officeart/2005/8/layout/hierarchy2"/>
    <dgm:cxn modelId="{551BF693-462A-5B43-BD4C-FCF92BF353A3}" type="presParOf" srcId="{4C709CD7-9961-4341-968E-8E110974947F}" destId="{8E80A8E2-F8F2-2D46-915E-0144442FCF6C}" srcOrd="2" destOrd="0" presId="urn:microsoft.com/office/officeart/2005/8/layout/hierarchy2"/>
    <dgm:cxn modelId="{4627B945-7091-184C-8AD9-B6F4290AA53F}" type="presParOf" srcId="{8E80A8E2-F8F2-2D46-915E-0144442FCF6C}" destId="{5404D2DA-F00C-EE45-A453-3E3F9390C062}" srcOrd="0" destOrd="0" presId="urn:microsoft.com/office/officeart/2005/8/layout/hierarchy2"/>
    <dgm:cxn modelId="{97F6D928-F2C5-9444-9E5E-DEC929907A82}" type="presParOf" srcId="{4C709CD7-9961-4341-968E-8E110974947F}" destId="{F613F41D-8DDA-0D44-98AC-D1F58FE99436}" srcOrd="3" destOrd="0" presId="urn:microsoft.com/office/officeart/2005/8/layout/hierarchy2"/>
    <dgm:cxn modelId="{3646BDB6-58E3-7E40-BC2E-B3F4264214ED}" type="presParOf" srcId="{F613F41D-8DDA-0D44-98AC-D1F58FE99436}" destId="{C3940B02-7D1E-984F-B01F-FE4F9A757FE7}" srcOrd="0" destOrd="0" presId="urn:microsoft.com/office/officeart/2005/8/layout/hierarchy2"/>
    <dgm:cxn modelId="{D64E59D5-564E-614D-8E76-13B3ADE801C2}" type="presParOf" srcId="{F613F41D-8DDA-0D44-98AC-D1F58FE99436}" destId="{DE1B6F14-286E-B94E-945E-541D774C107F}" srcOrd="1" destOrd="0" presId="urn:microsoft.com/office/officeart/2005/8/layout/hierarchy2"/>
    <dgm:cxn modelId="{D3B51CF7-59E0-1643-B280-0C1B840C1C9D}" type="presParOf" srcId="{DE1B6F14-286E-B94E-945E-541D774C107F}" destId="{12B79441-1093-544A-9520-9C66045F620B}" srcOrd="0" destOrd="0" presId="urn:microsoft.com/office/officeart/2005/8/layout/hierarchy2"/>
    <dgm:cxn modelId="{9F960CC0-535D-244D-BE14-796CD51B7BC2}" type="presParOf" srcId="{12B79441-1093-544A-9520-9C66045F620B}" destId="{AE7BEDB3-7B81-D044-B23C-C4B447FD9659}" srcOrd="0" destOrd="0" presId="urn:microsoft.com/office/officeart/2005/8/layout/hierarchy2"/>
    <dgm:cxn modelId="{DBF4EA44-1F48-B242-945F-7B45ADA187BF}" type="presParOf" srcId="{DE1B6F14-286E-B94E-945E-541D774C107F}" destId="{BACA9135-5068-A149-8F0B-786FB69209A9}" srcOrd="1" destOrd="0" presId="urn:microsoft.com/office/officeart/2005/8/layout/hierarchy2"/>
    <dgm:cxn modelId="{E0E2D081-3D78-A241-9B5D-66D00825C852}" type="presParOf" srcId="{BACA9135-5068-A149-8F0B-786FB69209A9}" destId="{0FE010EE-8535-8745-971B-69BE24713C44}" srcOrd="0" destOrd="0" presId="urn:microsoft.com/office/officeart/2005/8/layout/hierarchy2"/>
    <dgm:cxn modelId="{751AEBF1-6FFE-B74B-BE1B-B70C2909F6DF}" type="presParOf" srcId="{BACA9135-5068-A149-8F0B-786FB69209A9}" destId="{1313307D-26F9-EF4D-B4C4-28776EDF861F}" srcOrd="1" destOrd="0" presId="urn:microsoft.com/office/officeart/2005/8/layout/hierarchy2"/>
    <dgm:cxn modelId="{CE432C39-23D5-8F4D-B3D4-085C6EDD5AD7}" type="presParOf" srcId="{DE1B6F14-286E-B94E-945E-541D774C107F}" destId="{BE8AC8C3-98B1-5340-B412-6F8DFAD0BB0B}" srcOrd="2" destOrd="0" presId="urn:microsoft.com/office/officeart/2005/8/layout/hierarchy2"/>
    <dgm:cxn modelId="{7B2CF8D2-9F8E-154B-8B6C-EE3C375AF0DE}" type="presParOf" srcId="{BE8AC8C3-98B1-5340-B412-6F8DFAD0BB0B}" destId="{349B8574-3AD9-5346-AEBA-22C9B41860F0}" srcOrd="0" destOrd="0" presId="urn:microsoft.com/office/officeart/2005/8/layout/hierarchy2"/>
    <dgm:cxn modelId="{39F4EB68-FBF8-6E4C-A849-CE0DB4F3EF3E}" type="presParOf" srcId="{DE1B6F14-286E-B94E-945E-541D774C107F}" destId="{82B82C6C-8CB3-2147-A633-C5A1529C792F}" srcOrd="3" destOrd="0" presId="urn:microsoft.com/office/officeart/2005/8/layout/hierarchy2"/>
    <dgm:cxn modelId="{B70F5726-051B-F04A-94A2-5C4F08E639D3}" type="presParOf" srcId="{82B82C6C-8CB3-2147-A633-C5A1529C792F}" destId="{DDD30D50-26A5-6C4A-B925-41FF1BA46222}" srcOrd="0" destOrd="0" presId="urn:microsoft.com/office/officeart/2005/8/layout/hierarchy2"/>
    <dgm:cxn modelId="{0D69E17F-EB9A-8B4F-8E6E-D8EF38708734}" type="presParOf" srcId="{82B82C6C-8CB3-2147-A633-C5A1529C792F}" destId="{E9CCD55C-2B72-0F40-9FF8-B9D603C60D8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09.800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-2270 1420 8355,'-7'0'-876,"2"-3"0,-1 2 1056,1-1 1,1-1-4,-1 0 0,3-1 119,-3 1 1,1 0 213,-1 1-608,2 1 168,3-2 0,0 3 1,1 2-1,1 1-150,3 1 0,-1 1 1,1 2-1,0 0 62,-1 1 1,2-1-1,0 0 1,2 1 32,1 2 1,4 0 0,-1 3-1,2-1 19,0 1 0,4 3 1,1 1-1,1-1-78,-1 2 0,5 0 1,-2 4-1,2 0 29,1-1 0,0 3 0,-1 1 18,2 1 1,0-1 0,-1 3-1,0-3 69,-2 0 1,-1-1 0,-2-2-1,-2-1 1,0-2-5,-2-2 0,-1 0 0,0 0 0,-1-1 81,1-1 0,-1 0 0,1-1 0,0 1-79,0-1 1,2 0 0,-3 1 0,0-1-57,-1 1 0,3-2 0,-5 0 1,1-1-1,-1 1-96,-1 0 1,1 2 0,-2-1 77,0 1 0,0-3 0,-3-1 0,-2-1 39,2-1 0,-3-1 0,0-1 199,-3 1 0,3-4 248,-1 1-75,1-3 52,-3 1-315,0-3 509,0 0-677,3 0 0,-2-3 1,3-2 71,0-1 0,0-2 0,0 0 0,0-1 0,1-3-53,2-2 1,0-3-1,1 0 1,1 1-38,4-2 1,-2 0 0,1-3 0,1 1-5,0 1 1,2-1 0,0-1 0,1-1 100,1 0 1,0-2 0,-1-2-1,2 0 114,0-1 0,2-2 1,1-4-1,2-1 11,1-3 0,1-4 1,4 1-1,1-3-149,1 0 0,1 0 0,2-1 0,0 1 57,0 0 1,2 0-1,0-1-107,0-2 1,0 0 0,1-4-1,1-4 1,2-1 40,0 0 1,3-2-1,-2 2 27,1 1 1,1-1 0,0 4 0,-1 3 0,-1 2-19,-2 3 0,0-2 0,-7 5 0,1 1 13,-1 3 1,0-2 0,-2 4 0,-3-1 24,-1 0 0,-4 3 0,-4 1 1,0 2 19,-2 3 0,-4 2 0,0 4 1,-2 2 29,-1 3 1,-4 0 0,-1 5 0,0 2 146,0 2 308,-2 0-287,1 5-821,-3-2-279,0 3-1024,0 0 551,-3 0 0,1-1 1,-2-1 270,-2 0 1,-4-4 0,-1 2 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6:44.453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58 99 8561,'-5'-14'0,"-1"0"0,-2-1 970,-3 1-809,4 6 0,-4 3 0,6 10 0,2 6 0,2 5 0,1 5-280,0 1 0,1 7 0,2 6 1,4 0-1,1 0-51,3-3 0,6 1 0,4-3 1,1-4 172,4-4 0,1 0 1,2-6-1,1-5 201,3-3 0,-3-3 1,4-5-1,-4-1 239,-1-4 1,-2-5 0,-3-7 0,-5-4 88,-3-1 0,-4-2 0,-2-5-135,-5 1 1,-4 1 0,-1 1 0,0 4-213,0 1 1,-1-3 0,-4 5 0,-3 2 0,-2 2-90,1 6 1,4 1-886,-4 3 1,1 10 0,-2 0-1,5 7 207,4 7 0,1-1 0,1 4 1,4-1 417,5-4 1,9-1 0,5-3 0,3-2 608,1-1 1,1-7-1,1 0 1,0-6 266,-1-7 0,1-2 0,-9-4 0,0-2-116,-1-1 0,-2-5 0,-7 5-154,-1 2 0,-7-4 0,2 2 1,-2 1-323,1 2 1,-2 7 0,3-1 0,-5 1 68,-5 1 0,3 0 0,-4 5-2354,0-2 1,-1 2-1,-4 7 411,2 6 1,-1 9 0,-4 3 0</inkml:trace>
  <inkml:trace contextRef="#ctx0" brushRef="#br0" timeOffset="443">1376-87 8355,'-15'-1'288,"1"-4"94,0 3 1,-1-4-1,-1 6 29,-3 0 0,2 5 0,-5 1-74,1 2 0,-3 3 1,3 7-163,-1 1 1,5 0 0,-3-3 0,5 1-145,0 2 1,7 0 0,3-4-1,4-1 118,1 0 0,8-6 0,5-1-308,4-1 0,9-4 0,-3 2 0,4-2 303,2-2 1,-7-2-1,-3-1 1,-3-2 267,-1 2 1,-6 2-185,1 1 0,-9 0 1,-1 1-362,-8 4 1,-4 3-1,-4 8 1,-2 1-22,-1 3 0,0 0 0,5-2-18,-1 1 1,8 0 0,2-5 0,3 1-179,2-1 0,2 0 0,3 1 0,6-3 134,6-2 1,5 1 0,7-5-2064,0 2 1522,6-5 0,-5 10 0,5-5 1</inkml:trace>
  <inkml:trace contextRef="#ctx0" brushRef="#br0" timeOffset="775">1633 343 8355,'-14'0'0,"5"0"753,-1 0 0,5-2 0,-4-3 0,-1-4-66,2-4 0,2 4 1,6-2-1,0-4-368,0-2 1,0-4 0,0 2 0,1-3-34,4-1 1,3-4-1,7 3 1,-1-1 41,0 1 1,0-3 0,1 5 0,-1-2-104,0 0 0,-4 6 0,0-1-141,1 3 1,-3 7 0,1 1 0,2 2 121,2 2 0,-3 9 1,-1 5-1388,2 2 0,2 9 0,1 3 0,-1 3 109,-3 2 1,1 6 0,-6 3-1,-2 3 1,-2 2 152,-1 0 1,-6 0-1,-2 0 1</inkml:trace>
  <inkml:trace contextRef="#ctx0" brushRef="#br0" timeOffset="1083">1662 228 8355,'0'-14'1269,"0"0"1,0-1-714,0 1 1,2 4 0,3 2-1,6 1 1,5 0-584,3 1 1,1 1-1,-2 5 1,3 0-1,1 0 1,3 0-1,2 0 1,0 2-1897,-3 2 471,10-2 0,-10 11 0,11-5 0</inkml:trace>
  <inkml:trace contextRef="#ctx0" brushRef="#br0" timeOffset="1662">2206-187 11277,'-8'-6'0,"2"-2"0,1 1 0,1 7 0,0 10 0,3 7 0,1 7 0,0 3 0,-2 0 0,-1-1 0,-2-2 0,2-1 2566,1 0-2480,2-3 0,0 0 1,0-1 8,0-2 0,7-7 1,4-6 209,6-2 0,1-4 1,6-2-1,1-7-167,2-7 0,0 2 0,-1-3 0,-4 3 104,-1 2 0,-2 1 0,-5 2-62,1 1 0,-3 6-230,-2-6 0,-4 8 0,-7 2 0,-6 10 1,-5 7-1,-8 6 0,-2 1 0,-3 0 0,-2 1 1,0 0-1,3 1 0,5-4 0,3 0 0,3-1 1,3 0-1,6-4 0,2-1 0,2-1 0,0-1 1,2-1-1,2-2 0,6-3 0,4 0 0,4-2 1,3 0-1,1-2 0,2-3 0,0-1 0,1 0 1,4 0-1,2 0 0,1 2-2408,-1 3 0,10 3 1,3 6-1</inkml:trace>
  <inkml:trace contextRef="#ctx0" brushRef="#br0" timeOffset="2658">187 1030 8355,'0'-43'-928,"0"7"1,0 4 2667,0 7 0,13 2 0,7 6-1002,10-2 0,9 1 0,8 7 0,8 3-503,5 2 0,0 1 1,7 6-1,2 4 0,-2 6-107,-5 7 1,-3 4 0,-16 7 0,-7 1-326,-4 3 0,-10 2 1,-4 5-1,-7-2 87,-6 2 0,-12 2 0,-7-1 0,-10-1 146,-8-2 1,-3-5-1,-5 2 1,2-3-13,-1-5 0,-3-8 1,-1 1-1,0-5-70,0 0 0,0-7 0,2-4 0,3-2-419,4-2 0,9-2-219,1-2 1,8-4-1,2-7 1,9 1-1,11 0-595,13-1 1,10 1 0,14 0 0</inkml:trace>
  <inkml:trace contextRef="#ctx0" brushRef="#br0" timeOffset="2333">373 959 8355,'-2'-27'870,"-2"3"0,2 3-400,-3 7 0,4 4 0,1 4 0,0 4 0,0 9 0,0 5-149,0 8 0,1 3 0,2 11 0,2 4-359,-2 3 1,-1 9 0,0 4 0,1 3-1760,2 0 0,6 4 616,-2-9 1,10 4-1,4 1 1</inkml:trace>
  <inkml:trace contextRef="#ctx0" brushRef="#br0" timeOffset="3041">1605 858 8355,'-14'-19'974,"-1"0"1,6 0-1,-1 5 1,-1 1-298,-2 4 1,-3 2 0,-1 7-324,-2 0 1,-5 2 0,3 3-1,-1 6-425,-4 6 1,4 1 0,0 4-1,1-1 1,5-2 0,5 0-1,6 0-849,4-1 685,1-3 1,1 0 0,4-1 0,5-1-147,2-4 1,9 2-1,1-4 1,2-1 315,0 1 0,-6-3 0,1-2 207,-3 3 0,-4-2 190,-2 6 1,1-4-1,-8 3-29,-4-1 1,-6 2-1,-5-3 1,0 1 263,3-1 0,1 1 0,-3-4-1007,1 2 1,7 1-466,-2-1 0,5 1 0,5 5 0,6-1-495,7 1 0,10 2 0,9 1 0</inkml:trace>
  <inkml:trace contextRef="#ctx0" brushRef="#br0">1232-3252 7668,'0'-15'0,"0"1"0,0 0 124,0-1 0,0 6 1,-1 1-1,-2 0 1,-2 0 846,2-3-782,1 4 3,2 1 1,2 8 0,2 2-1,6 8 54,3 5 1,6 5-1,2 9 1,1 2 9,3 5 0,2 10 1,4 5-1,0 4-132,3 5 0,10 11 0,-1 13-135,-20-40 1,-1 2-1,-2 2 1,0 2 0,-2 1-1,0 0 1,0 3 0,-1 0-81,0-1 0,-2 1 0,-2 3 0,-2 2 0,-1 1 0,-2 1 0,-2 2 1,-1 1-1,-2-2 0,-2-1 78,1-2 0,-2 1 0,0 2 0,-2-1 0,1-5 0,-2-1 0,-2-1 0,-1 1 152,-3-4 1,0 0 0,1-1-1,-1-2 1,-14 36 0,1-6 199,0-6 1,-1-10-1,0-7 1,2-7-68,0-6 0,5-7 1,-1-5-1,4-7-218,3-6 1,6-9 0,-4-4-149,1 0 1,3-6-269,4 0 0,0-1 1,1-9-1,2-1-1390,2-2 1,1 4 585,-1-1 0,3 1 727,7-5 1,5-1 0,3 1 0</inkml:trace>
  <inkml:trace contextRef="#ctx0" brushRef="#br0" timeOffset="3666">1762 1231 8355,'0'-19'0,"0"0"1620,0 0 1,0 3 0,0-2-954,0-1 0,0-2 0,2 4 0,1-2-203,2 1 1,1-2-1,-3 0 1,2 3-46,-2 1 0,4 2-747,-2-1 1,4 6-301,-4-1 0,1 9 0,-3 1 1,2 8-1,0 4-28,1 3 1,-2 1 0,4 1-1,-1 2-306,1-1 0,-3-2 0,5-2 870,1 0 1,2-6 837,1-3 0,0-3 0,1-2 0,-1-2 0,0-3-86,1-4 0,-3-4 0,-1-1 0,-1-1-47,1 1 1,-3 0 0,0-1 0,-2 1-154,-2 0 1,2-1 0,-1 1-396,-2 0 1,-1 4-712,-2 1-1,1 6 1,2-1 0,2 8 139,-2 5 1,-1 4 0,-2 1-1,1 2-480,4 3 0,-2-3 0,7 5 0,-1-2 856,-1 0 1,5-5-1,-5-4 1,2-1 1061,-1-1 1,1-1 152,4-7 0,0-2 0,-1-3-535,-3-4 0,1-6 1,-5-2-1,1-4 25,-1-1 0,5-2 1,-3-5-183,0 1 0,3-1 0,-4 0 0,0 2-143,5 4 0,-4-4 0,1 4 0,1 1 0,-1 3-17,1 3 0,-1 3 0,6 4-663,-1 4 0,5 3 0,0 4 0,-1 4-676,-2 9 0,-2 4 0,-1 8 1,-2 0 573,-2 3 0,-4 2 0,3-2 0,-2 4-157,-2 4 0,-3 1 0,-1 1 1,0-2-347,0 2 0,-1-5 23,-4-1 1,-3-4 0,-6-1 0</inkml:trace>
  <inkml:trace contextRef="#ctx0" brushRef="#br0" timeOffset="3930">2364 1045 8355,'0'-15'4003,"0"1"-3073,0 0 1,6 4-1,5 1-574,7-3 0,-2 5 1,5-1-1,-2 1-989,0 4 0,6 1 0,-1 4 1,3 3-1446,2 4 1,6 4 0,1 1 0</inkml:trace>
  <inkml:trace contextRef="#ctx0" brushRef="#br0" timeOffset="4647">2808 1116 8355,'-13'-32'3985,"4"4"-2926,2 2 0,7 7-308,0 0 0,0-6 1,0 2-1,0 1-96,0 3 1,0-2 0,0 2 0,2 3-547,3 5 0,-2 0-972,6 6 0,-1 7 0,4 7 0,-4 4 98,-2 1 1,3 2 0,-2 2 0,1-1 156,3-4 0,-3 1 1,1-6-1,1 2 817,-2 0 1,5-7-1,-4 1 1,4-2 301,1-2 0,1-5 0,-1-1 0,0-2 94,1-3 1,-1-2 0,-1-1-299,-4-1 0,4 1 0,-4 0 1,3-1-337,-3 1 0,2 0 0,-4 0 1,-1-1-58,0 1 0,4 0-2586,-5-1 1,1 7 0,-1 3 1042,4 4 1,-1 2 1628,2 4 0,-5-2 0,3 7 178,-2 1 0,-1-3 0,-5 2 0,0 1 487,0 2 1,1-4 0,3 2-1,0 4-73,-1 2 1,-1 2 0,0-5-1,1 2-82,2 3 1,-1-3-1,-4 3-253,0-3 1,0-1-1,2-1 1345,3 0-966,-4 1 0,6-14 1,-6-5-1,2-9-361,2-6 0,5-5 0,-4-8-62,2-1 0,0-7 0,3 3 0,-1-1 1,1 1-61,2 2 1,1 2-1,0 4 1,2 2-159,3 3 1,-1 4 0,4 7 0,-1 2-129,-4 1 0,4 7 0,0-2 0,-1 5 0,1 7 0,-3 5 0,-3 7 0,0 4 0,-2 2 0,-4 1 0,-4 1 1,-4 0-1,-1 3-648,0 0 1,-6 1-1,-5-4 802,-7-4 0,1 5 0,-7-6 1,-1 0-1,-4-3-352,-4-3 0,2-2 0,-2 1-235,3-1 1,7-6 0,4-2-1443,3 1 1,2-6 0,0 6 0</inkml:trace>
  <inkml:trace contextRef="#ctx0" brushRef="#br0" timeOffset="4997">4226 56 8355,'0'-27'2989,"-6"10"0,2-4 1,-3 20-3026,0 9 1,-4 7 0,1 16-1,-2 2-511,-3 5 0,1 12 0,0 5 27,-1 6 0,1 9 0,0-2 0,1 5-3349,3 2 2904,-2-11 1,10 12 0,-4-10 0</inkml:trace>
  <inkml:trace contextRef="#ctx0" brushRef="#br0" timeOffset="4998">4126 1016 8355,'-10'-6'4203,"2"-4"-3743,2-3 1,0 1 0,2 1 0,0 1 1802,0-1 0,3 3-2836,1-2 1,1 7-1,4-2-2123,5 4 501,-4 7 0,13 8 0,-3 9 1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6:27.967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29 424 8355,'-14'0'3525,"6"6"-933,2-4-2087,6 4 1,13-14 0,6-6-1,6-9 4,4-4 1,-7-1-1,-1-3 1,-2 0-59,0-3 0,0 1 0,-5 3-300,1-4 1,-6 9 0,-1-2 0,-1 3 0,-3 3 181,3 0 0,-6 7-1196,4 4-39,-3 7 1,4 8-1,4 13 659,2 7 0,1 7 0,-2 11 0,-1 1 0,1 3 358,2 0 1,-1 1-1,-1-5 1,-1-2-40,1-2 1,-4-1 0,-1-8 0,-1-4 935,-1-4 1,1-3 0,-5-5-264,0 1 1,-6-3 0,-4-2-418,-2-5 0,-4-4 0,-3-1 0,-5 0-515,-3 0 0,-2-1 0,0-3 0,1-2 0,1-2 273,3-3 1,5 3-2549,9-2 0,-9 7 1,3-3-1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6:37.095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-645 2092 8355,'-2'8'-522,"-3"-3"0,4-2 846,-4 2 0,3-5 0,2 0 0,0-8-66,0-5 1,0 4 0,0-1 0,0-1-34,0-2 1,7-6 0,1-2 0,1 1-29,1-1 0,-1-4 1,6-1 58,-1-6 1,0 2 0,0-3 0,1 2-29,-1 3 0,-1-6 1,-2 1-1,-1 3-99,1 4 0,-5 1 0,-1 6 0,-4 0 30,-1-2 1,0 5-289,0-3 0,0 8-518,0 1 377,0 7 0,2 3 0,1 10 348,2 2 1,6 3 0,0 0 0,5 3 34,3 1 1,2 2-1,-4-4-60,3 2 1,0 5 0,-2-3 0,1 0 28,-2-1 0,4 4 0,-2-5 0,-1 0-68,-2 2 0,-2-5 0,0 3 0,-1-3 34,-3-2 1,1 1 0,-7-1-1,1 0 34,2 1 1,-6-6 0,2-1-1,-6-2 24,-6-2 0,-6 4 1,-4 0-1,-6 1 54,-7 1 0,0-6 0,-6 6 1,-2 0-116,-1-2 0,3-2 0,1-5 0,2 3 0,1 0 0,3 0 0,0-3 0,6-1 1,3 0-1,4 0-87,2 0-577,8-6 0,-3 6 1,10 0-1347,7 8 0,15 5 0,15 1 0</inkml:trace>
  <inkml:trace contextRef="#ctx0" brushRef="#br0">85 173 8355,'-22'0'1938,"3"0"-484,3 0 1,6 0-59,1 0 1,5-2-956,0-3 0,10-1 1,7-5-1,6 1-258,3-1 1,4-1 0,5-3-109,3 1 0,4 0 0,-3-1 1,0 1-1,0 1 77,-3 4 0,-2-2 0,-1 6 0,-2 2-408,-3 1 1,1 2 0,-6 2-1,-1 2-377,-2 6 1,-2 3 0,-1 3-1,-2 3 410,-2 4 1,-5 3 0,0-1 0,-2-1 238,-2 2 0,0 1 0,0 1 0,-2 1 184,-2 0 0,0-2 0,-3-2 1,-1-2 215,0-3 0,3-1 0,-3-4 0,0-3 571,0-2 1,3 1 0,-4-6-608,-2-2 0,-2-1 0,-2-4 301,1-3 0,0 0 0,-1-7 0,1-4-391,0 0 1,0-2 0,-1 1-1,1-2 1,0 0-532,-1-2 1,6 5-1,1-3-1063,1 3 0,3 10-1154,4 6 0,12 12 1,4 11-1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02.583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72 58 8355,'-28'-7'1906,"7"4"-1289,7-6-238,6 6 1,8-5-1,1 4 1,4-2 0,8 0-1,8-1 120,7 4 1,15 2-1,2 1-699,4 0 1,-7 1 0,-1 4 0,-3 4 0,-4 4 7,-4 2 0,0-1 0,-12 2 0,-4 1 55,-3 2 1,-8 2 0,2-3-1,-5 2 435,-5 3 1,-9-6 0,-10 2 0,-3-3 20,-2-2 1,2 1-1,2-3 1,1 0 11,-2-3 1,6-4-1,-1 3-32,0-2 1,5-1 0,-3-5-56,3 0 0,8-2 1,2-1-1,1-3 0,-1-1 166,-2 1 0,5-5-227,-2 1 1,-1-2-1,1-3 1,2 1-233,1 0 0,2-1-1084,0 1 1,0 5 0,2 1-913,3 1 0,-4 15 503,4 11 1,-10 7 0,-3 2 0</inkml:trace>
  <inkml:trace contextRef="#ctx0" brushRef="#br0" timeOffset="2481">-5098 1490 6962,'-10'-28'0,"2"-1"619,2 0 0,1 2 1,5 2-1,2 2 1,2 1-1,8 1 1,5 1-1,9 1-47,5-2 1,0 7 0,4-2 0,-2 6-566,1 4 0,4 1 0,-5 5 0,-1 0 1,-3 0-179,-6 0 1,3 6 0,-7 4 0,-1 4-34,-3 5 1,-7-1 0,-3 6 0,-5 1 68,-5 2 0,-4 2 0,-9 0 0,-2-1 194,-3 1 0,4-5 1,-3-2-1,1-1 133,4-4 0,1-6 787,2-1-1035,-1-7 1,10 2-1,10-10 1,13-4-1,9-4-14,6-2 0,-3 6 1,4 1-1,-4 2-75,-1 2 1,-2 3 0,-2 4 0,-2 5 147,-3 6 1,-1 5 0,-6 1 0,-3 3 231,-6 4 0,-4 7 0,-6 1 0,-7 0-95,-4 0 1,-9 3 0,3-4 0,-3-3-1,1 0-80,1-3 1,5-4-1,-4-2 1,3-3-186,2-6 1,-3 0-62,2-8 1,5-1 0,4-4-504,-1 0 0,5-6 0,1-5 1,4-5-1692,1-3 1654,12 6 1,4-6-1,13 3 1</inkml:trace>
  <inkml:trace contextRef="#ctx0" brushRef="#br0" timeOffset="1994">-4969 1547 8421,'-15'-14'305,"7"0"0,-3-1 1,5 3-1,0 1 1323,-1 1-1338,2 7 0,5 3 0,0 11 0,0 7-80,0 5 0,0 6 1,0 3-1,0 3-235,0 2 0,0 5 0,2 6 0,3 0-704,4 1 0,-1-3 0,2 7-2131,1 1 2262,8-5 1,-3 1-1,5-7 1</inkml:trace>
  <inkml:trace contextRef="#ctx0" brushRef="#br0" timeOffset="2925">-4353 1476 8752,'-15'-14'431,"7"-1"1,2 9-1,6 6 1,0 9-1,0 7 1,0 5-1,0 1 1,0 5-1,0 4-225,0 2 1,0-4-1,0-7 1,0 0-312,0 0 0,0-9 0,0 2 269,0-3 1,2-7-1,1-5 108,1-8 0,8-11 0,-3-5-57,4-3 0,0-3 1,-2-4-1,-2-4-7,2-3 0,2 1 0,0-1 0,-2-2 0,-1 0-45,1-2 1,-2 12-1,2-4 1,2 8-197,-2 6 1,-1 10 0,1 0 0,-1 5-300,1 5 0,-3 5 0,0 7 1,-2 10 127,-3 7 0,-1 4 0,-2 3 0,0 4 50,0 0 0,0 2 1,-2-5-1,-1-4-83,-2-5 1,0 1 0,7-7 0,1-1-220,2-3 1,6-7-1,0-3-40,7-3 0,-1-4 0,7-3 0,0-4 1,0-4-1,0-1-280,1-1 1,2-5-1,2-2 1</inkml:trace>
  <inkml:trace contextRef="#ctx0" brushRef="#br0" timeOffset="3860">-3709 1089 8355,'-6'-8'0,"3"-3"0,-5 5 0,0-1 2589,0 1-1858,-2 1 0,-4 5 1,0 0-159,-1 0 1,-4 2 0,-2 3-240,-1 4 0,0 9 0,-2 2 0,5 3-296,3 2 1,3-3-1,2 1 1,3-1 0,2-1-66,3-1 0,1-1 0,4-4 1,2-1-289,6 0 1,3-4-1,3-2 1,1-2 0,2-3-1,-1-1 1,-2-2 0,-2 0-1472,0 0 1753,-6 0 1,-3 2 0,-10 2 0,-4 6 1020,-4 3 0,0 1-663,4 0 1,-3 1-1,6-1-298,-2 0 0,5-4 0,-2-1-153,4 2 0,2-3 1,4 0-1,5-1 1,4-4-148,5-2 1,-2-1 0,7-1 0,2-4-818,1-4 0,0 1 0,-2-2 1,-1-1-1113,2-2 1984,1-1 0,1-7 0,1-1 0</inkml:trace>
  <inkml:trace contextRef="#ctx0" brushRef="#br0" timeOffset="3861">-3537 1290 8355,'6'-29'0,"-2"0"0,4 1 0,-2 1 746,-3 3-272,-1-3 0,-1 11 2889,4-3-1730,-3 3-1629,4 8 1,-8 9-1,-1 12 1,-3 8-1,-2 4 1,-3 6-1,0 0 1,-1 4-1,3 2 1,-1 0-944,2-4 0,-3 2 0,6-2-289,2-1 1,-3-3 0,0-5 0,-1-5 819,1-3 1,1-2-1,5 0 1</inkml:trace>
  <inkml:trace contextRef="#ctx0" brushRef="#br0" timeOffset="3862">-3652 1290 8355,'-6'-21'630,"4"3"0,-2-4 626,2 1 0,2 2 0,2 7-1128,2 2 1,4 5 0,8 10 0,2 5-104,1 2 0,0 3 0,-3 1 0,1 0-309,3-2 0,-1 7 1,-5-10-1,0 0-200,1 2 1,-1-7 0,0-1 0,1-4 227,-1-1 0,0 0 1,1-1-1,-1-2 245,0-2 0,5-11 0,0 2 1,-1-4 272,-2-3 0,-3-1 0,-2-7 350,-2 1 1,-1-1 0,2-1 0,-5-2 0,-4-1-264,-1 1 1,0 2 0,0 2 0,0 3 199,0 1 0,0 7 0,-1-2 1,-3 3-256,0 1 0,-1 1 0,3 1-1485,-3 4-199,4-4 1,-6 13-1,7 0-2925,0 8 3619,0 11 0,0 3 0,0 7 1</inkml:trace>
  <inkml:trace contextRef="#ctx0" brushRef="#br0" timeOffset="4296">-3064 788 9311,'-10'-41'1999,"1"3"0,5 0-1537,0 9 0,8-3-293,6 8 1,7 2 0,6 0 451,4 1 0,-2 3 0,10 7 1,0 3-1,3 2-758,4 3 1,1 3 0,0 3-1,0 3 1,1 1 0,2 1 0,4 0-1,-1 3-2321,0 2 0,6 1 1,-4 0-1</inkml:trace>
  <inkml:trace contextRef="#ctx0" brushRef="#br0" timeOffset="4295">-2921 860 8355,'0'-27'0,"0"3"4136,0 5-3316,0 9 0,0 6-909,0 8 1,5 9 0,1 9 31,2 5 0,-5-1 0,4 9 0,-3 0-528,1 3 0,0-1 0,-5-1 1,0 1-657,0 0 1,0-4-1,0 4 780,0-2 0,0-2 0,0-4 1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02.166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229 1633 8355,'-24'14'16,"0"-1"1,1-2 0,0-3-1,3 0 1,1-2 0,-1 1-1,3-4 1,1-1 0,2-2 306,-1 0 1,7-2 0,4-3 0,2-4-1,2-4 126,0-1 0,8-7 1,8-3-255,11-3 0,5-8 1,9-3-1,5-4-56,4-1 0,10-6 0,15-5 1,-32 24-1,1 0 0,7-4 0,2-1 1,3-1-1,3-1 0,5-2 0,2 0 319,5-1 0,1 0-540,4 0 1,3-1 0,8-1-1,2 0 1,0 0 0,1 1-1,-3 2 1,1 2 151,-4 2 1,0 1 0,0-1-1,-2 0 1,-7 7 0,-1 2-1,0 0 1,-1 0 15,-3 0 1,0 1-1,-2 1 1,-2 0 0,-10 3-1,-3 1-30,-3 0 1,-1 1 0,-2 1-1,0 1 1,39-10 0,-7 2-1,-7 3 80,-10 1 1,-6 7 0,-15 4-174,-3-1 0,-3 3 1,-8 0-1,-3 2 0,-5 2 87,-3 3 0,-1-4-272,-1 0 0,-4 0 0,-1 4-151,2-4 1,-3 4 0,2-4 0,1 3-489,2 2 0,1 0 0,0 0 0,1 0-526,-1 0 0,2 5 950,3 0 0,-3-1 0,5-4 1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22.083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1114 123 8355,'0'-15'-156,"-1"1"0,-2 0 0,-2-1 1,2 1-1,1 0 0,2-1 2584,0 1-2459,0 6 0,6 13 0,4 12 0,3 9 0,1 11 93,0 7 0,1 5 1,1 12-1,1 7 1,2 7-1,-1 8 0,-2 9 1,-9-41-1,0 2 1,0 2-1,0 1 1,0 3-1,1 0 131,-1 2 1,0 0-1,-3 0 1,0-1-1,-1 7 1,-1 0-1,-2-1 1,-2 0 16,-2 1 1,-2 0 0,-1-1 0,-5 0-217,-6 3 0,-2 0 1,1 3-1,-2 0 1,-5 2-1,-2 1 1,-1 2-1,-2 1 139,-3 4 0,-2-1 1,-3 0-1,-2-1 0,-2 4 1,-1-1-1,0-3 1,2-2-1,2-7 0,2-2 5,2-6 0,2-2 1,4-4-1,2-4 0,-19 25 1,1-14 48,-2-10 1,-3-13 0,-6-6 0,1-3-154,3-3 1,1-1 0,9-12 0,8-5-359,8-3 0,6-3 1,7-5-542,-1 0 1,7-6 0,5-4 0,6-4-784,7-5 0,9-4 0,3-5 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27.500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29 22 8963,'-12'-10'472,"2"0"1,4 9-1,6 1 1,0 9 0,0 9-1,0 6-8,0 3 1,0 3 0,0 2 0,0 3-463,0 2 1,1 1 0,2 5-1,2 0 1,0 0-908,1 0 0,1-2 1,4-1-1,-2-4-98,3-1 174,0-1 1,9 1-1,1 1 1</inkml:trace>
  <inkml:trace contextRef="#ctx0" brushRef="#br0" timeOffset="370">-143 36 8355,'0'-22'0,"0"-4"878,0 7 1,2 0 0,3 3-1,6-1-535,6-3 1,1 1 0,6 5-1,1 0 1,2 1 0,2 2 0,0 3-1,-1 1-102,1 4 0,-2 2 1,-2 1-1,-2 0 1,-3 0-196,-2 0 1,-2 6-1,-3 4 1,-2 2-77,-2 3 0,-6-1 1,2 2-1,-5 1-41,-5 3 1,-2 5 0,-8-3 0,1 2-307,0 0 0,-2-2 1,-2 4-200,-1-2 0,5-7 0,6 4 123,1 0 0,3-6 0,4 5 0,0-5 257,0 0 1,6-6 0,4-1-1,2-1 1,4-3-127,3 3 1,-1-6 0,4 4 108,-1-3 0,3-2 1,-4 0-1,1 0 0,1-2-650,1-3 0,0 2 744,6-6 0,0-1 0,-1-4 0</inkml:trace>
  <inkml:trace contextRef="#ctx0" brushRef="#br0" timeOffset="1188">688-50 8355,'-14'-6'1067,"1"2"0,2-4 1,1 2-526,-1 3 0,-1 1 0,-3 2 1,3 2 36,2 3 1,-3 1-1,4 5 1,-2-1-444,1 1 1,-1 2 0,5 1 0,-1 0-359,1 1 0,1-1 1,5 0-1,0 1-240,0-1 0,0 0 1,2-1-1,2-2-329,6-1 0,-2-2 1,1 3 796,3-2 1,-1 1 0,0 3 334,-2-4 1,-5-1 0,0-3 0,-2 4-1,-4 4 1,-1 1-564,-2 1-334,1-7 0,5-2 1,4-4-1,5 1 0,4 2 1,5-2-1,5-2-372,3-1 1,2 0 0,-1 0 0</inkml:trace>
  <inkml:trace contextRef="#ctx0" brushRef="#br0" timeOffset="1190">860-64 8355,'0'-15'3840,"6"7"-3336,-4-4 0,11 10 0,-4-3 0,4 4-477,1 1 1,1 1 0,1 4 0,1 5-71,2 2 0,5 3 0,-3-1 0,1 0-2061,4 1 0,7 5 0,4 3 0</inkml:trace>
  <inkml:trace contextRef="#ctx0" brushRef="#br0" timeOffset="1189">975-7 8355,'4'-14'0,"1"-1"0,0 6 2865,-5-1-247,0 7-2352,0-3 1,0 14 0,-2 6-1,-1 7-90,-2 1 0,1 5 0,2-2 0,-1 6-230,-2 2 0,0 5 0,5-3 0,0 0-455,0 0 0,0 3 1,0-4-1,0-2-811,0-2 0,0-3 0,2-3 0,1-5 734,2-3 0,6-8 0,-3-2 1</inkml:trace>
  <inkml:trace contextRef="#ctx0" brushRef="#br0" timeOffset="1870">1333 351 8355,'-18'-2'0,"4"-1"0,1-2 1459,7-6 1,-5 3 0,6-8-1,2-1 1,1-2-694,2 1 1,0-2 0,0-1 0,2-1-556,3-4 1,2 1 0,8-1 0,-1 2-78,0-1 0,1 3 0,-1-1 0,0 3 16,1 2 1,-6 2-1446,1 2 0,-1 8 349,6 6 0,-3 8 1,0 9-1,-3 5-56,2 5 0,-4 0 0,-3 12 0,-2 0-71,-2 3 1,-6 1 0,-2 0 0</inkml:trace>
  <inkml:trace contextRef="#ctx0" brushRef="#br0" timeOffset="1871">1333 322 8355,'-10'-24'0,"2"2"0,2 1 2521,1 2 0,5 5-1687,0 0 1,0-1-1,2 3-912,2 2 0,3 2 0,6 5 1,-1-2-103,4 2 0,3 1 0,0 2 0,4 0 0,1 0-2059,-1 0 0,8 13 0,5 3 1</inkml:trace>
  <inkml:trace contextRef="#ctx0" brushRef="#br0" timeOffset="1872">1720 208 8355,'0'-15'3227,"0"1"-2378,0 0 0,0-2 0,0-2 0,0-2-382,0-3 1,0 4-1,0-5 1,0 1 0,0-1-92,0 0 1,0 5-1,1-4 1,2 3-45,2 2 0,0 2 0,-5 2-3306,0 0 1605,0-1 0,0 9 0,0 6-1692,0 8 2075,0 5 1,-7 7-1,0 3 1</inkml:trace>
  <inkml:trace contextRef="#ctx0" brushRef="#br0" timeOffset="3184">2063-36 8355,'-8'-14'0,"4"0"4583,-4 6-3991,6 1 0,-6 7 1,3 2-466,-4 3 1,1 3 0,-2 8 0,1 1-52,1 2 1,0 0-1,5-4 1,-2-1 112,2 0 0,1 1 0,2-1-260,0 0 0,6-4 1,4-1-1,3 1-576,1-2 0,2-2 0,3-6 1,3 0-1468,1 0 1,8 0 1296,-2 0 0,3 0 0,-4 0 0</inkml:trace>
  <inkml:trace contextRef="#ctx0" brushRef="#br0" timeOffset="3185">2536-193 8355,'-14'0'0,"-1"0"0,1 0 0,0 1 660,-1 4 0,1-2 1,-2 7-1,-1-1 1,-3 1 556,3-1 1,1 1-1,0 4 1,-1 1-977,-2-1 0,4 5 0,7 0 0,0-1-144,0-2 0,5-2 0,-2 0 0,4 1-461,1-1 1,6-1 0,2-2 0,2-3-948,-1-2 0,1 4 0,4-4 482,0 2 0,-4-5 1,-2 3 274,-2 1 1,-1-4 1378,-5 7 0,-2-6 1,-2 4-90,-6-1 927,4 4-3001,-1-10 0,15 6 0,7-7 331,7 0 0,11 6 0,4 2 1</inkml:trace>
  <inkml:trace contextRef="#ctx0" brushRef="#br0" timeOffset="3186">2751-93 8355,'-15'0'2226,"8"-6"1,-1 4-1515,3-3 0,3 5-561,-3 5 0,4 3 0,1 6 0,0 1 22,0-1 0,0 2 0,-2 3 0,-1 3-26,-2 1 0,0 2 1,5-4-1,0-1-156,0 1 0,0 3 0,0-5-69,0-1 1,0-7 0,0-2-721,0 2 402,0-4 318,0-1 1,5-14 0,2-5-1,-1-6 99,0-3 0,-1-2 1,-5-5-1,2 1 131,3-1 0,-4-3 0,5 2 0,-1 3 64,0 0 1,5 6 0,-4 2 0,2 3 31,3 2 1,3 1-1,4 4 1,1 2-152,-2 1 0,-1 4 1,-1-2-314,-1 2 1,-1 4 0,-2 2 87,-2 6 0,-1 3 0,2 1 1,-5 2-1,-4 1 52,-1 3 0,-6-1 1,-2-5-1,-2 0 84,1 1 1,-1-1-1,-4 0-562,0 1 0,1-1-515,3 0 1,4 1-1,8-3-262,2-2 0,6 1 599,9-6 0,10 6 0,7-3 1</inkml:trace>
  <inkml:trace contextRef="#ctx0" brushRef="#br0" timeOffset="3187">3453-150 8355,'0'-15'2288,"-5"1"-1489,0 0 0,-6 6 0,1 3 0,-2 3-11,-3 2 0,-1 0 0,-1 0-432,-2 0 0,0 12 0,6 2 0,3 3-512,6 4 1,2-3 0,2 5 0,0 3 72,0 1 1,6 0 0,4-2 199,3-1 0,-1-5 1,0 4-1,-4-1-42,-2 0 0,3-4 0,-4 1 0,-2-3-3,-1-2 0,-2 0 0,-2 1-454,-2-1 0,-4-4 1,-7-2-1,-1 0-1538,-3-1-221,-3 3 0,-7 4 0,1 1 1</inkml:trace>
  <inkml:trace contextRef="#ctx0" brushRef="#br0" timeOffset="4338">287 1024 8355,'0'-14'-358,"0"0"1,0-1 2547,0 1-1738,0 6 0,0 5 0,-1 11 0,-3 8 1,0 4-1,-1 7 0,-2 4-367,-2 2 0,1 5 0,-2-3 0,-1 2-111,-1 3 1,2-4 0,2 2-1,2 2-944,3 2 0,1-6-420,2-2 0,6-4 0,2-2 1</inkml:trace>
  <inkml:trace contextRef="#ctx0" brushRef="#br0" timeOffset="4772">259 1196 9642,'9'8'1076,"1"-3"-854,1-4 1,1 4 0,4 0-1,4 0-75,3 1 0,1-4 0,2 2 0,1-2 0,-3-2 1,0 0-1,-4 0 0,1 0 0,-4-2 64,-1-2 1,-3 0 0,-2-5 0,-1-1-269,1 2 1,-5-4 0,1 2 58,-1-3 1,-4-1 0,2 0-1,-2-1 1,-2 1 0,-2 1-1,-1 5 1,-2 8 0,1 8-1,-1 7-2550,0 4 2138,-6 3 0,9 7 0,-2 1-850,2 3 0,2-1 859,0 6 0,6 1 0,2 4 0</inkml:trace>
  <inkml:trace contextRef="#ctx0" brushRef="#br0" timeOffset="5295">760 1382 6326,'-5'7'3831,"0"-7"-3004,2-8 1,2-7-1,1-2 1,0-2 0,1 0-556,4-2 0,3 0 0,6-4 0,0 1 0,1-2 0,-1-1 0,0 0 0,1 2 0,-1 1 0,0 0 1,1 2 399,-1 3 0,-6 8-784,-3 1 1,3 7-62,1-2 1,-1 5 0,0 5-281,-1 4 0,2 6 1,-4 4-1,0 5-300,1 3 1,-4 3 0,2 3 0,-2 6 0,-2 0-3295,0 0 3412,0 2 0,0-4 0,0 6 1</inkml:trace>
  <inkml:trace contextRef="#ctx0" brushRef="#br0" timeOffset="5296">831 1296 8481,'0'-14'1867,"0"0"1,0-1 0,2 3-1612,3 2 1,3 4-1,6 6 1,0 0-541,1 0 1,4 0-1,2 1 1,-1 4-921,1 5 1,4 2-256,-1 3 0,-3-1 0,0 0 1</inkml:trace>
  <inkml:trace contextRef="#ctx0" brushRef="#br0" timeOffset="5595">1190 1096 8933,'-10'-13'0,"2"2"4350,2 1-4231,1 7 0,5-2 1,0 10-273,0 5 1,0 7 0,1 2 0,3 0 16,0 2 1,8-5 0,-3 3 0,2-3 290,-1-2 0,3-4 0,-4-2 71,4-2 1,1-1 0,2-7 0,2-2 122,1-6 1,0-3 0,-5-1-1,0-2 132,1-3 1,-1 2 0,-1-6-1,-2 3-289,-2 2 0,-4 1 0,3-1 0,-1-1 0,-4 1-1161,-2 3 0,4 5-907,0 0-274,0 7 0,1 3 0,2 8 1</inkml:trace>
  <inkml:trace contextRef="#ctx0" brushRef="#br0" timeOffset="5912">1677 1024 9726,'-10'-13'0,"0"4"2361,-1 4 0,-1-1-2230,-3 1 0,6 0 0,-1 7 1,-1 3-1,0 4 0,0 4 0,3 1-654,1 1 0,3 0 0,4 3 1,0 1 64,0-1 1,0-7 0,0-2 295,0 2 0,0 2 1,0 1 1172,0 1 1,1-6 87,4 1 1,-3-1 291,2 6-1849,-2-7-153,-2-2 0,6-6 0,5 0 0,5 0-1488,3 0 0,7 6 0,-4 2 1</inkml:trace>
  <inkml:trace contextRef="#ctx0" brushRef="#br0" timeOffset="6504">2292 1253 9694,'-14'-6'2034,"6"-2"-1758,3-6 0,-1 4 0,1 1 320,2-3 0,1-5 0,2-2 0,0 1 0,0 2 0,0 1 1,0-3-258,0-1 0,5 0 1,2 5-1,-1-1-51,0 1 1,1 0-1061,-3-1 0,0 7 0,5 3 1,-4 5 0,3 5 0,0 5 122,0 3 0,1 6 1,6 0-1,-1-3 378,0-5 1,-1 2-1,-2-6 451,-1 1 1,-1-1 0,6-7 0,-1 0 0,0 0 878,1 0 0,-1-2 0,0-3 0,1-6-326,-1-6 1,-1 1-1,-2-3 1,-3 3-351,-2 2 0,4-1 0,-4 1-2,2 0 1,-5 4-3458,2 0 187,-3 1 0,2 7 1382,1 7 1,6 13 0,-3 4 0</inkml:trace>
  <inkml:trace contextRef="#ctx0" brushRef="#br0" timeOffset="6792">2851 1053 9945,'8'-14'881,"-2"7"0,-4 6-943,3 4 1,3 8-1,6-2 1,0 3 132,1-3 0,-1 2 0,0-4 0,1-1 580,-1 0 1,-4-1-1,-1-5 52,2 0 0,2-1 1,0-4-1,-2-5 261,-2-3 1,-4-6 0,3 0 0,-2 0-566,-2-2 1,-3 4-1,-1-5 1,-1 1-177,-4 4 1,-3 1-1,-6 1-672,-1 1 1,-1 4 0,-3 2 0,-5 2 0,-3 4-1390,-1 6 1,-1 4 0,2 9-451,3 7 0,-3 0 0,5 11 0</inkml:trace>
  <inkml:trace contextRef="#ctx0" brushRef="#br0" timeOffset="7315">3309 838 8355,'-9'-37'1397,"1"4"1,2 4-1,2 4 2314,3 1-3016,1 13 1,1-8 0,4 11-172,5 0 1,4 1-1,5 7 1,5 0-681,3 0 0,6 7 0,1 2 0,-1 4 0,1 3 0,1 2 0,1 2-2302,4 2 0,8 2 1,3 5-1</inkml:trace>
  <inkml:trace contextRef="#ctx0" brushRef="#br0" timeOffset="7004">3467 881 8355,'0'-29'1137,"0"7"0,-5 16 0,-1 15 1,-1 10-1688,1 4 0,-3 8 0,2 0 0,1 4-566,-1 4 0,-2-4 431,4-1 1,-6-4-1,3-1 1</inkml:trace>
  <inkml:trace contextRef="#ctx0" brushRef="#br0" timeOffset="7796">259 1912 8355,'0'-20'1881,"0"4"0,-5 3 0,0 14 0,2 12-1776,1 9 0,-3 6 0,1 2 0,-1 3-481,-1 5 0,4 4 0,-3-1 0,4-1-1085,1-2 1,1-1 0,4 1 290,4-5 0,11-9 0,2-3 0</inkml:trace>
  <inkml:trace contextRef="#ctx0" brushRef="#br0" timeOffset="8846">230 1955 8355,'-2'-19'0,"-2"0"1679,2-6 1,-4 9-834,6-3 0,4 3 1,3 3-1,2 3-661,7 6 1,-2-3 0,7 2-445,0 2 0,1 2 0,7 1 0,1 0 0,2 0 159,1 0 1,1 6 0,-7 2 0,-2 3-1959,-1 3 1,-6-2-1,2 8 1</inkml:trace>
  <inkml:trace contextRef="#ctx0" brushRef="#br0" timeOffset="8847">301 2027 8355,'-7'0'2600,"-6"0"1,13 0-2452,0 0 1,6 0-1,10 0 1,3 1 0,5 3 68,3 0 1,7 1 0,1-5-768,1 0 0,-2 5 0,2 0 0,1-2 0,-1 0-1072,4 2 1,2 3 0,1 6 0</inkml:trace>
  <inkml:trace contextRef="#ctx0" brushRef="#br0" timeOffset="8848">746 2055 8355,'-13'2'0,"3"3"0,4-2 565,6 7 1,0-6 0,0 6 0,0 1-1,1 2-415,4 1 1,5-1-1,7-2 1,4-3 0,1-2-1,4-3 1,-1-1 0,1-2-1,-4 0 1,-1-2 0,-2-4-1,0-7 1,0-4 0,-3-1-1,-3 2 1,-5 1 0,-2-3-1,-3-1 1,-1 1 0,-2 2-1,0 2 1,-2 0 0,-3 0-1,-4-1 1,-6 1-1,-2 1 1,-4 4 0,1 4-1,-3 3 1,3 2 0,-3 2-1,1 3 1,-2 6 0,2 6-1,3 7 1,4 3-2609,6 2 0,-4 6 1,5 1-1</inkml:trace>
  <inkml:trace contextRef="#ctx0" brushRef="#br0" timeOffset="8849">1433 1884 8355,'-10'-23'1855,"1"4"0,4 5 0,-3 3-609,2 1 1,-5 7-1,1 0-1216,-3 6 0,-1 5 1,0 8-1,-1 3-271,1 5 0,0 3 0,1 2 1,4-1 100,4 1 1,3-5 0,2-2-1,0-1-97,0-4 0,2-1 0,3-3 0,4-2 1,4-3 202,1-2 1,2-1-74,3-5 0,-1-2 0,6-1 0,3-3 0,3-2 13,3-3-2068,7 4 1,-10-5 0,5 4 0</inkml:trace>
  <inkml:trace contextRef="#ctx0" brushRef="#br0" timeOffset="9092">1777 1869 8355,'-15'0'0,"1"0"2015,0 0 1,0 2-1447,-1 3 0,2 3 0,2 6 0,2 0-319,-2 1 0,4-1 0,2 2 0,4 1-229,1 2 1,0 0-1,0-4 1,1-1 51,4 0 0,-2 1 0,7-1 0,1-1-659,2-4 0,1 4 0,1-5 0,0 2-1405,5-1 1,2-6-1,6 4 1</inkml:trace>
  <inkml:trace contextRef="#ctx0" brushRef="#br0" timeOffset="9440">2006 1955 8355,'-10'2'769,"2"3"1,2 4 0,3 4-294,1 1 1,2 0-1,2 1 1,3-1 0,4 0-213,4 1 1,1-2 0,2-2 0,2-3-26,1-2 1,2-1-1,-4-5 1,2 0 294,-1 0 0,-2-8 0,-1-5 0,3-6 27,1-3 1,-1 3 0,-7-5-1,-3 0-210,-2 2 1,4-4-1,-6 5 1,0 1-39,-3-1 1,-7-3 0,-4 5-1,-3 2-365,-1 1 0,-2 6 0,-1 2-581,-2 2 0,-7 1 0,2 8 0,-4 7-992,-6 9 1,4 6-1,-3 6-578,2 2 1,3 4-1,-1 6 1</inkml:trace>
  <inkml:trace contextRef="#ctx0" brushRef="#br0" timeOffset="9902">2579 1769 8355,'-14'-6'0,"1"-4"4257,3-3-2684,-2-1 0,8 4-1559,-5 1 0,1 12 0,-2 2 0,6 8 1,2 6-278,2 5 0,0 3 1,2 1-1,2 1 119,6 0 0,4-6 0,4 0 1,1-3-20,-2-2 1,1-9 0,-1-4 0,2-3 559,-1-2 1,-2 0 0,0-2-1,1-3 276,2-4 1,0-4 0,-6-3 0,-2-1-220,-1-2 0,-2 0 0,1 3 0,-2-2-115,-1-1 1,-4 0-1,2 5-27,-2-1 1,-2 6-1254,0-1 1,-2 7 0,-1 0-1,-1 6 31,0 7 0,3 2 0,1 3 0,0-1 477,0 0 0,0 1 0,1-1 759,4 0 0,3-1 0,6-3 0,1-6 377,-1-2 0,0-2 1,1 0 245,-1 0 0,0-6 0,1-4-492,-1-3 0,0-1 0,1 0-1422,-1-1-1176,0 1 1,1 6-173,-1 3 1,0-3 0,1 0 0</inkml:trace>
  <inkml:trace contextRef="#ctx0" brushRef="#br0" timeOffset="10711">3438 1683 8355,'-6'-13'0,"-2"2"2426,0 2 0,-5 5 0,4 0-1640,-4 2 1,-1 2-1,-1 0 1,1 2-1012,0 2 1,-5 4 0,-2 7 0,0-1 0,1 0 0,4 1 0,3-1 0,5 0 0,2 1-680,2-1 1,3 0 21,1 1 0,1-3 0,3 0 0,2-5 1939,2 0 1,1 2 247,6-4 0,-7 2-256,-3-3 1,1-1-954,-1 7 0,-1-5 0,-4 4-706,0 2 1,0 2-529,0 2 0,2-3 1,3-1-1,4-3-621,4-1 0,8 4 0,1-3 1</inkml:trace>
  <inkml:trace contextRef="#ctx0" brushRef="#br0" timeOffset="10712">3596 1669 9204,'0'-2'549,"0"7"1,0 6-478,0 3 1,-5 7-257,0 3 0,1 1 0,4 1 0,0-2 1,0 0-154,0-2 1,0-1 774,0-7 1,0-5 0,0-2-1,1-6 1,4-7 0,4-5 748,4-3 0,-3-2 1,-1-3-871,2-5 1,-3 1 0,2 0 0,1-1 0,2 0 0,1 2 579,0 1 1,1 2-736,-1 4 0,5 3 1,0 2-128,-1 5 1,-1 4 0,1 1-1,2 1-143,3 4 0,-6 3 0,2 6 1,-3 2-1,-3 2-16,-3 1 0,1 5 1,-7-4-1,0 3 77,-3 2 1,-7 1-1,-5-1 1,-7-3 19,-6-1 0,-3 0 0,-3-4 1,0 2-643,1-1 0,-9-2 1,3 0-1790,-10 3 0,-5 3 1,-8 7-1</inkml:trace>
  <inkml:trace contextRef="#ctx0" brushRef="#br0" timeOffset="12412">187 3029 8355,'-6'15'28,"4"-1"1,-3 0-1,2 2 1,0 2 238,-2 1 0,0 6 0,5-2 0,0 1-58,0-1 1,0 1 0,0 5-1,2 0 91,3-1 1,-4-4 0,4-2 664,-3-1-762,-2-2 0,0-12 0,0-9 0,0-11 401,0-9 1,0-11 0,0-6 0,1-2-140,4-2 0,-2 0 1,7-2-289,1-2 0,2 1 0,1-7 0,2-1-133,3-2 0,-2-1 0,6 1 1,-1 4-38,0 4 0,1 11 1,0 9-1,-4 7 1,-3 7-210,-1 4 1,4 7 0,0 13 0,-2 10-240,-1 10 0,-1 12 0,-3 7 0,-2 2-144,-5 3 0,1 2 0,-1 3 0,-2 0-579,-1-2 1,-2 7 0,0-12 248,0-3 1,0 4-1,0-2 1</inkml:trace>
  <inkml:trace contextRef="#ctx0" brushRef="#br0" timeOffset="12689">373 3115 8726,'-14'-28'1156,"1"4"-823,4 0 1,2 2 0,7-2 0,0 5 292,0 3 1,7 3 0,4 4 0,5 2-347,3 1 0,6 4 0,-1-1 0,3 6-662,2 7 1,1 7 0,2 2 0,1-1-3228,-1-2 2615,-2 4 0,-1-4 0,0 5 0</inkml:trace>
  <inkml:trace contextRef="#ctx0" brushRef="#br0" timeOffset="13060">788 3029 8355,'-14'0'1171,"0"7"0,4 1-735,1 6 0,4 2 1,-3 2-1,2 2 1,1 1-78,-1 0 1,4 2 0,-3-2-175,4 1 0,1-4 297,0 1 0,1-11-286,4-8 1,-2-8 0,7-11-1,1-5 1,2-3 0,1-3-1,0-2 1,0-1 109,1 1 0,4-5 0,0 0 1,0 1-103,2 2 1,-5 1-1,4 3 1,-1 4-48,1 4 1,-1 5-353,-5 7 1,0 4 0,-1 7 0,-3 6 0,-4 5 157,0 6 1,-4 7 0,1-1-362,-6 3 1,-5 2-1,-6 0 1,-1-1 0,1-1-738,0-3 0,-1-2 1,1-4-1695,0 1 1781,6 0 1,-5-5 0,5 1 0</inkml:trace>
  <inkml:trace contextRef="#ctx0" brushRef="#br0" timeOffset="13490">1147 2958 8489,'-5'-14'897,"0"-1"-10,0 7 889,5-5-1576,0 6 1,0 5 0,0 7-1,0 7 19,0 8 0,0 2 0,0 6 0,-1 3-90,-4 2 0,2 2 1,-5 5-1,1-5-69,4-5 1,-3 2 0,1-10-1,2 1 292,1-4 0,2-8 328,0-2 1,0-7 0,0-4-573,0-10 1,0-4 0,0-10 0,2-2-37,3-4 0,3-6 1,8 4-1,1-1-99,2-5 0,2 7 0,-4-10 0,4 3-20,1 4 1,-4 1 0,1 8-1,-3 3 1,-2 5-100,0 3 1,-4 8 0,0 3-77,1 3 1,-5 9 0,-1 4 0,-4 6 53,-1 7 1,-1 3 0,-4 3 0,-4 4-448,-4 4 1,-6-3 0,-2-1 0,0-4-1227,1-2 0,-4-1 902,5-3 1,0 3 0,4-4 0</inkml:trace>
  <inkml:trace contextRef="#ctx0" brushRef="#br0" timeOffset="13856">1505 2915 8355,'-15'-7'2508,"7"6"-2136,-4-5 1,4 6 0,-5 1 0,2 5 0,1 7-21,-1 5 1,0 7 0,0-1-390,1 3 0,2 2 1,-3-1-1,3 1 0,2-2-100,3-3 1,1-3 0,2-7 344,0 0 0,2-6 1,2-3 11,6-3 0,8-13 0,1-4 0,0-2-60,1-4 1,-4 0 0,3-4 0,-3 3 339,-1 1 0,-1-3 1,0 3-1,-1 1 96,-3-1 1,2 2-953,-2 5 0,-2 6 259,1 3 1,-1 10-1,3 4-934,-1 4 0,-7 1 0,4 2 0,-3 2 0,3 1-1150,1-2 0,-4 4 1610,6-2 1,0 0 0,4-5 0</inkml:trace>
  <inkml:trace contextRef="#ctx0" brushRef="#br0" timeOffset="14598">1934 2972 8355,'-8'-14'709,"-3"0"0,5 1 1,0 2-1,-2 3 189,0 1 0,-2 3 0,-4 4-183,-1 0 0,0 0 1,-3 1-1,-1 4-486,1 4 0,2 3 0,4-1 0,1-2-552,1 2 1,7 2 0,-2 1 192,4 1 0,2-1 0,4-1 0,4-2-602,4-1 0,1-6 0,1 6 0,-1-1-392,0-1 0,-1 0 0,-2-4 1070,-1 0 1,-7 7 398,2-1 1,-4-2-1,-2 1 1,-2 3 0,-4-1-1,-1 0 1,-3-2-1,-2 1 1,1 0 947,2-1-2941,4-6-50,6 4 1,13-7-1,2 0 1</inkml:trace>
  <inkml:trace contextRef="#ctx0" brushRef="#br0" timeOffset="14599">2164 3015 8355,'-10'-5'1756,"0"1"1,6-1-1072,-6 5 1,1 0 0,-4 1-551,3 4 1,-1 3 0,6 6 0,2 2-265,2 3 1,1-3 0,0 5 0,0-2 0,1 0-108,4-1 0,1-2 0,5-4-45,-1-2 1,0 1 0,4-6 586,0-2 1,1-1 0,-1-4 0,0-3 11,0-4 1,1-1-1,-1-3 1,0-4-1,1-2 68,-1-2 1,-4-4 0,-1 1 12,2-3 0,-3-3 0,0-2 1,-1-2-1,-4 4-116,-2 5 0,-1-1 1,0 7-1,0 2-2248,0 1-1076,0 8 879,0 1 1,-6 20-1,-2 3 1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22.850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8 536 8497,'-6'-6'1009,"4"-5"1,7-5-271,3-3 0,-3-2 0,3 2 1,0-5-1,0-3-199,3-1 1,-3-1 0,1-1-1,1-2-207,-2-2 0,3 1 0,-5 4 0,1 1-154,-1-1 0,0 2 1,-3 3-1,2 5-84,-2 3 1,-1 2-1042,-2-1 0,0 9 0,2 6 744,2 8 1,4 16 0,7 6 0,-1 7 0,2 6 0,3 3 0,3 0 0,2-3 0,-2-3 0,-1-4 0,-2-1 691,2-3-245,-12-2 1,11-7 0,-12-4-1,-1-3 3110,-2-2-2435,-3-6 0,-2-3 0,-3-10-489,-7-5 0,-4-7 0,-13-2 1,0 1-565,-4 2 0,4-3 0,5 2 0,1 3-1559,4 2 0,1 9 1,2 2 215,-1 9-982,7 14 0,-4 21 1,4 8-1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42.388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44 330 8355,'-14'0'0,"6"-2"3803,3-3-3096,-3 4 0,6-12 1,-2 3-237,2-2 1,2-3-1,0 1 1,0 0-129,0-1 1,6-4 0,4-1 0,3-1-162,1 0 1,0 1 0,1 2 0,-1-1 245,0 1 1,1 3 0,-1 0-282,0 1 1,0 1 0,1 4-495,-1 4 0,0 3 0,1 4 0,-2 4 0,-2 7-147,-2 4 1,-1 9 0,3-2-1,-3 3-2245,-1 2 0,-4 1 1469,-8 3 0,-3-3 0,-6 5 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43.143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15 652 8355,'-8'-15'0,"3"1"3314,3 0-2250,2-1 1,0 1-131,0 0 1,7 4 0,4 1 0,5-1-492,3 2 1,1 2 0,-2 6-784,1 0 0,5 0 0,-3 0 1,1 0-1,3 0 0,2 1 1,2 3-1,-2 2-2118,-3 2 0,3-5 1,-5 3-1</inkml:trace>
  <inkml:trace contextRef="#ctx0" brushRef="#br0" timeOffset="1">573 365 8355,'-6'-14'0,"3"0"5869,-7-1-5353,7 7 0,-5 10 0,5 12 0,-2 7-906,2 1 1,-4 5-1,1-3 1,0 3-532,-1 2 1,-2-1 0,2 1 0,1-2-2287,0-3 2680,-5-3 0,3-7 0,-7 0 0</inkml:trace>
  <inkml:trace contextRef="#ctx0" brushRef="#br0" timeOffset="2">416 423 8355,'0'-15'740,"0"1"0,0 0 0,1 1 0,4 3 0,4 6 721,4 2-1478,8 8 0,-4-3 0,6 7 1,-1 0-1,-1-1 0,1-1 1,-1 0-1,-1-2 0,-2 1 1,-1-4-1212,2-1 1412,-3-2 1,5-2-1,-5-1 1,1-5 0,3-3-1,-3-5 1,-1-2-1,-2-1 1159,1 0-1157,5-6 0,-9 2 1,4-7-1,-2-2 569,-1-1 1,-2-5 0,-2 4 0,-2 4 361,-3 4 1,-1 1-2714,-2 6 0,0 8-318,0 11 0,-5 13-134,0 10 1,-6 11 0,3 2 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12.402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36 2682 8355,'-3'4'-2,"-2"-2"0,0 0 0,-1-1 418,1 2-331,0-1-446,1-2 256,1 0 1,3-1 159,0-1 1,3-2-1,2-3 1,2-1-1,3-3-34,2-3 1,2-5 0,4-5 110,4-2 1,1-7-1,6-5 1,4-8-104,3-5 0,2-2 0,3-5 0,1-3 0,2-3 32,2-3 1,2-1 0,-1-4 0,1 1 84,1 0 1,2-6 0,-5 7-1,1-2 83,-1 1 1,2-6-1,-1 7 1,0-1-88,2-1 1,-3 3 0,1 1 0,-2 2 0,1-1-138,-1 1 0,-1 4 0,-1-1 1,0 2-1,0 3 0,-2 2 0,-2 2 1,-1 2-53,1 1 0,-3 5 0,-4 3 34,-3 3 1,1 4 0,-6 0 125,-1 3 1,0 1-1,-2 4 1,0 1-1,-2 4 1,-2 2 95,-2 2 0,0 4 1,-2 0-190,-1 2 1,-1 4-474,-4-1-39,-3 6 0,-2 0 0,-4 4 1,-3 1-1,-1 2 0,-2 2 1,-2 3-346,-2 2 0,-1 3 0,-2-2 1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43.476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15 284 7609,'-8'6'0,"3"3"0,4 4 0,1 1 680,0 1 0,5-1 0,1-1 0,2-4-353,3-4 1,-3-3 0,2-2 334,1 0 0,2-2 1,1-3-1,0-4 344,0-4 0,1-8 0,-2-2 1,-2-4-1,-2-1-434,2 5 1,-3-4 0,0 3-1,-1-3-368,-4-2 0,-2 2 0,-1 3 1,-1 5-893,-4 3 0,2 2 0,-7 1-937,-1 3 0,-2 7 0,-1 13-732,0 9 1,-1 13-1,1 4 1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7:43.879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0 347 8355,'0'-27'1175,"0"3"1,2 5 0,3 3 0,3 0 0,1-1 560,1-2 1,-2 0 0,3 4-1,-2 1-537,3 0-1594,0-1 0,3 9 0,-3 6 188,-2 8 0,-4 0 1,-4 1-1,1 2-644,2 2 1,1 2-1,-3-1 1,4 0 723,1 1 0,0-6 0,3-1 1,0-2 633,5-2 0,-2-3 1,5-1-1,-3 0 315,-2 0 1,6-1 0,0-4 0,1-5 94,0-2 0,-2-9 0,-3-1 0,1-2 14,2 0 0,0 2 1,-6-4-789,-3 2 1,2 7 0,-4-2-999,0 3 1,-1 6-1,-7 4-1603,0 4 0,0 12 1,0 12-1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9:18.078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715 44 8624,'-9'-7'0,"-1"-1"0,-1 0 0,-2 2 559,-1 0 1,-2 4 0,-3-3 457,-5 4-571,-3 1 0,-3 0 1,-4 0-236,-4 0 1,-2 5-1,1 1 1,0 2 0,0 3-1,-1 2 1,-2 1-1,3 0 1,-1 1 205,5-1 1,8-1-515,3-4 0,6 4 0,-1-3-239,3 2 1,8-2-1,4-1 1,4 3-22,4 0 1,6 3 0,11-1 0,7 0 188,9 1 0,7-3 0,6-1 0,4-1 1,-3 1 125,-5 2 0,-3-4 0,-13 1 0,-4-1 196,-4-1 0,-8 5 0,-6-3 1,-1 2 194,-4 3 1,-3 4-1,-5 0 1,-6 0-130,-7 2 0,-4-4 0,-7 6 1,1-3-97,-1-2 1,0-2 0,1-2 0,-1-1-115,1-4 1,0 2-1,5-6-209,3-2 0,5-1-2482,0-2 1552,7 0 0,4 0 0,10 0 489,8 0 0,7-6 0,8-2 1</inkml:trace>
  <inkml:trace contextRef="#ctx0" brushRef="#br0" timeOffset="682">701 216 10847,'-7'-15'2595,"6"1"-2388,-5 0 1,7 6-224,4 3 1,3 3-1,6 2 1,2 0-1,2 0 46,1 0 0,6 0 1,-1 0-1,3 0 1,0 0-1349,-3 0 1,1 2 534,-5 3 0,3-4 0,-2 4 0,0-3 129,0-2 0,-2 0 1,-5 0 540,0 0 0,1-2 1,-3-3-1,-1-4 107,-1-4 0,-5-1 0,3-1 6,-2 1 0,-1-5 0,-4 0 0,3 1 529,0 2 442,1 8 0,-5 4 0,0 8 1,0 8-1,-1 3-297,-4 5 1,3 10 0,-4 0 0,1 5-644,0 5 1,-1 1 0,3 2-610,-2 0 1,0-5 0,5 1 0,0-1-296,0-2 0,0-1 1,0-8-1,0-1-911,0-2 1635,0-7 0,7-2 0,1-9 1</inkml:trace>
  <inkml:trace contextRef="#ctx0" brushRef="#br0" timeOffset="681">758 201 8355,'8'-14'1962,"-2"0"-690,1-1 0,-6 6-820,4-1 1,-3 9-312,-2 1 1,0 8-1,0 9 1,0 4-227,0 1 1,0 8 0,0 7 0,0 1 0,0-1-895,0-2 1,0 3 0,1-3-1,3-2-252,0-2 0,7-1 780,-1-11 1,3 0 0,1-5 0</inkml:trace>
  <inkml:trace contextRef="#ctx0" brushRef="#br0" timeOffset="1321">1317 316 8355,'1'-14'184,"3"-1"1,0 1 0,-1 0 256,-1-1 1,-2 1 0,0 0 491,0-1 1,2 3 0,1 0 617,2 3-1605,-1 6 1,-4-2-1,0 11 211,0 9 1,-1 0 0,-2 11-1,-4 3 1,1 2-40,0 1 0,-4-2 0,5-1 0,2-2-287,1-3 1,2 2-1,0-7 1,0-2-165,0-1 1,2-3 0,1-2 0,4-3-207,1-2 1,1-1-1,7-5 1,2 0-9,1 0 0,4 0 1,-2-2-224,1-2 0,1-4 1,2-7 307,-1 1 1,0-7 0,5-1 0</inkml:trace>
  <inkml:trace contextRef="#ctx0" brushRef="#br0" timeOffset="1613">1703 201 8355,'-12'2'2018,"1"3"-1419,1 4 0,1 4 1,-6 1-1,1 1-89,0-1 0,1 5 0,2 0 1,1-1-264,-1-3 0,5 5 0,-1-1 0,2-2-199,1-1 1,-1-2 0,5 1-156,0-1 0,2-4 1,2-1-1,6 1-147,3-2 1,1 0 0,2-5 0,3 2-449,5-2 1,3-2 0,1-2 0,4-2-1,3-2-614,4 2 0,5-12 0,-7-1 0</inkml:trace>
  <inkml:trace contextRef="#ctx0" brushRef="#br0" timeOffset="2666">2348 244 8355,'-5'-14'1355,"0"0"0,1 4 0,5 2 0,4 2-1111,5 3 0,4 1 0,5 2 0,5 0 0,5 0-160,4 0 1,-1 0-1,6 0 1,0 0-289,-1 0 1,-2 0-1,-7-2 1,1-1-450,0-2 0,-7 1 1,-1 2-49,-1-3 0,-4 4 0,2-6 0,-5 3-295,-4-1 989,-6 0 443,4 5 0,-7 6 0,0 4-46,0 3 1,-5 7 0,0 6 0,0 4-109,-1 3 1,3 7-1,-5-2 1,1 2 0,4 0-246,2-2 1,1-11 0,0 2 0,0-4-886,0-2 1,1-3-1,2-5 1,2-1 0,0-1-1,1-4-337,4-4 0,3-3 1185,1-2 0,0-13 0,1-3 0</inkml:trace>
  <inkml:trace contextRef="#ctx0" brushRef="#br0" timeOffset="1916">2563 273 8355,'-10'-6'1744,"1"-4"651,6 4-2460,-4-1 1,2 9 113,1 3 0,-3 4 1,4 10-1,-3 5 0,-2 3 1,-2 2-1,1-1 1,1 3-1,0 2 0,1 5-995,1 4 1,1-6-1,5-2-126,0-4 0,0-1 0,0-1 1</inkml:trace>
  <inkml:trace contextRef="#ctx0" brushRef="#br0" timeOffset="2667">2907 559 8355,'0'-20'-619,"0"4"0,-2-7 0,-3 6 1235,-4-2 0,1-5 476,-2 5 1,2 0 1907,-1 4-2624,2 8 1,7 2 0,2 10-317,3 4 1,1-1-1,5 0 1,-1-2 9,1-2 0,-3-3 0,1-1 1,3 0-86,0 0 1,3 0 0,-1-1 0,0-3-300,1 0 1,-1-6-1,0 4-248,1-2 1,-7 3 0,-2-3-236,0 2 469,-4 1 0,4 6 0,-6 4 0,0 5-2,0 2 1,0 4 0,0 3 476,0 5 0,0-1 0,0 1 0,0 1 1,0 0-278,0-1 0,2-1-753,3-4 0,9-3 0,8 4 1</inkml:trace>
  <inkml:trace contextRef="#ctx0" brushRef="#br0" timeOffset="3025">3465 230 8355,'-6'-8'1280,"4"-5"1,-10 12 0,2-4 0,-4 3-1,-4 4-751,-1 3 1,-6 3-1,2 6 1,1 0-471,3 1 1,-2 0 0,2 3 0,3 1-552,5-1 1,0-3-1,6 0-302,2-1 1,3 0 0,5-1 0,4-2-388,4-1 0,1-7 1,1 3 551,-1 1 0,0-4 145,1 7 1,-7-6 1178,-4 6 1,-2-5 0,-4 4 729,-2 2 0,-3-3 1,-4 0-1,3 0-908,2 0 1,1-3 0,3 3-1,-1 0-605,-1 0 0,0 1 1,8 6-784,0-1 0,12 0 0,0 1-1116,5-1 0,9-6 0,7-2 0</inkml:trace>
  <inkml:trace contextRef="#ctx0" brushRef="#br0" timeOffset="3414">3566 330 8355,'-15'-5'5560,"1"1"-5436,6-1 0,2 6 0,4 4 0,-1 5 102,-2 2 0,-1 4 0,2 2-159,0 1 0,-6 5 1,5-5-1,2 0 52,2 2 0,1-5 0,0 3 228,0-3-237,0-8 0,6-4 0,5-10-45,7-8 1,-1-2 0,5-6 0,-1-1 0,-2 1-36,2-3 0,-5 2 0,3 1 1,-3 1-1,-2 4-35,0 1 0,-4 3-90,0 4 0,-6 2-302,6 7 0,-7 3 0,2 5 103,-4 7 0,-1 2 0,0-3 1,0 2-1,2 2-33,3 1 0,-4 0 0,4-5 0,-3 1 15,-2-1 0,6-4 0,4-2 0,2-2-82,3-3 1,4-1-841,0-2 0,0-7 0,-5-1 1</inkml:trace>
  <inkml:trace contextRef="#ctx0" brushRef="#br0" timeOffset="3791">4124 273 8355,'-13'-2'1018,"4"-2"1,1 2 0,3-3 0,-4 4-403,-4 1 1,-1 0-1,-1 0 1,1 1 0,0 4-367,-1 4 0,1-1 0,1 2 0,2 0-223,1-3 1,6 6-1,-4-3 1,1 2 18,4 3 0,3-1 1,5-1-1,5-2-902,2-1 1,3-2 0,-3 3-1,-1-2 1,-1 1-2842,1-2 3882,-4 4 0,4-8 0,-7 5 0,-2 2-365,-5 2 0,-5 0 1,-6-2 1495,-1-2 0,1 1 1,0 4-291,-1 1 1,6-6-1594,-1 1 1,9-2 0,1 1-444,8-4 0,12 1-386,9-1 0,12 0 0,10-5 0</inkml:trace>
  <inkml:trace contextRef="#ctx0" brushRef="#br0" timeOffset="4023">4883 359 8355,'-14'-13'0,"1"2"2870,4 1 1,2 9-2104,7 1 1,-4 6 0,-1 8-927,2 1 1,-4 4 0,2 2-489,2 1 1,2-5-1,1 4 1,0-2-1993,0 0 1,0 0 2056,0-4 0,0-1 0,0 0 1</inkml:trace>
  <inkml:trace contextRef="#ctx0" brushRef="#br0" timeOffset="4264">4898 15 8355,'-8'-14'-285,"3"7"-299,10 7 0,3 7 0,6 7 0</inkml:trace>
  <inkml:trace contextRef="#ctx0" brushRef="#br0" timeOffset="4543">5356 187 11555,'-10'-5'1597,"1"0"0,4 1-1164,-4 4 1,-3 1 0,-5 4 0,-4 5-250,-1 2 0,3 4 0,-3 3 0,1 5 0,3 3-44,2 2 0,7-1 0,1 1 0,2-2-204,2-3 0,3 3 0,1-5 1,0 1 80,0-4 0,0-3 0,0-2 0,0 0 1,0 1 122,0-1 0,-2-6 0,-3-2 0,-6-1-416,-6 0 0,-4 4 0,-6-2 1,0 1-2183,-3 3 0,-2 2 1,3 1-1</inkml:trace>
  <inkml:trace contextRef="#ctx0" brushRef="#br0" timeOffset="5916">153 1466 6307,'0'9'637,"0"1"-301,0 1 0,0 2 1,0 1-1,0 1 23,0-1 1,0-4 0,0-1 1441,0 2-520,0-4 0,0-2-835,0-10 1,0-3 0,0-8 0,0-3-272,0-5 0,0-5 0,2-3 0,3-2-354,4 2 1,-1 0-1,0 0 1,0-1 238,0 1 1,-4 3 0,2 3-1,-1 4 1,0 1-1182,-2 3-1016,-2 2 1782,-1 8 0,5 4 1,0 10-1,0 8 1,0 9-245,-1 4 1,3 2 0,-2 0 0,3-1 674,0 1 0,4-6 0,-2-4 1,3-3-1,1-2 0,1-1 0,-1-3 1,0-6-1,1-2 0,-1-2 1453,1 0 0,-1-6 0,-1-4-967,-4-3 0,4-1 0,-3-1-322,2 1 1,1-5-1,-2 0 1,-3-1-167,-1 0 1,2 4-1,-4-4 1,-2 4-143,-1 2 0,3 4-1135,0 1-15,-1 6 1,-4-2-1,2 11 1,1 7 789,2 5 1,1 7-1,-1-1 1,5 3 121,3 2 1,-2 0 0,2 0 0,3 0-36,0-1 0,0-5 0,-2-2 0,2-4-41,3-2 367,-3 2 1,11-9-1,-4 7 1</inkml:trace>
  <inkml:trace contextRef="#ctx0" brushRef="#br0" timeOffset="6320">873 1322 8728,'-8'14'0,"3"0"-97,4 1 1,1 1 0,0 1 0,1 4 45,4 2 1,-2-6 0,7 2 0,1-3-16,2-1 1,1-1 329,1 1 1,-1-7 0,1-5 620,-1-6 0,-6-5 0,-2-7 0,-1-1-478,0-3 1,0 1 0,-5-4 0,0 0 0,0 1-14,0 0 1,0-3 0,-2 3 0,-3 0-353,-4 1 1,-4 0 0,-1 6-377,-1 0 1,1 1-1,-1 3 1,1 5-858,0 4 1,4 12 0,2 5-173,2 5 0,1 3 0,5 5 0</inkml:trace>
  <inkml:trace contextRef="#ctx0" brushRef="#br0" timeOffset="7079">1363 1250 8355,'-10'14'-434,"2"0"1,0 1 0,0-1 0,-1 1 913,1-1 1,-4 5 0,8 0-1,-1 1 54,-2 0 1,6-4 76,-4 4 0,3-4 1036,2-2-1223,0-6 1,2-8 0,3-10 0,4-2-224,4-3 0,2-4 1,1-2-1,1-1-83,2-4 0,2 4 1,-3-1-1,1 1 75,-1 0 0,-4 9-162,-4-2 1,2 6-319,-2-1 0,-2 10 0,0 10 1,0 4-1,-2 4 1,1 1 1,-2 7-1,-5-4-1461,0 0 1,4 6-1,1-6 1086,-2 0 0,5 6 0,0-6 1</inkml:trace>
  <inkml:trace contextRef="#ctx0" brushRef="#br0" timeOffset="7080">1838 1235 8355,'-5'-14'3139,"-1"1"-2536,-2 3 0,-2 4 1,-4 6-1,-1 0-169,1 0 1,-1 6 0,-1 6 0,-1 4-356,-2 3 0,-1 2 0,6-4 0,1 2 49,4-1 1,2 3-1,7-2-774,0-1 0,3-2 0,5-4 0,7-2 0,2-5-807,4-4 1,-5-1 0,3 0 1498,-3 0-22,-1 0 0,-6 0 888,1 0 1,-8 2-6,-2 3 0,-5 3 0,-6 5 0,3-2-681,1-2 0,-2 1 0,4 4 0,2 1 1,1-1-502,2 1 0,0-1 0,0 0 0,2 1-543,2-1 0,11-1-924,9-4 0,9 4 0,4-5 0</inkml:trace>
  <inkml:trace contextRef="#ctx0" brushRef="#br0" timeOffset="7441">2572 1379 8631,'-14'0'1547,"4"8"-1395,1 7 1,4-1 0,-3 7-88,1 0 1,-2 1 0,2 8-1,1 2-693,0 2 0,1 0 0,5-6-187,0 1 0,0-2 0,0-3 606,0-5 0,6-3 0,2-1 1</inkml:trace>
  <inkml:trace contextRef="#ctx0" brushRef="#br0" timeOffset="7689">2601 1264 8355,'2'-24'0,"1"2"1341,2 1 0,6 3-1141,-2 9 1,4 2 0,2 7 0,1 0-86,3 0 0,2 3 1,4 5-1,-3 8 68,-1 5 1,-2-2 0,-4 5-1,-2 2 1,-4 0-73,-4-2 1,-3 6 0,-4-4-1,-3-1-324,-4 2 1,-4-1 0,-3 0-1,-2-4-328,-1-1 1,0-2 0,5-5-1,-1 1-454,1-1 1,-5 0 261,-1 1 1,1-1-1,5 1 1</inkml:trace>
  <inkml:trace contextRef="#ctx0" brushRef="#br0" timeOffset="8065">3306 1278 8355,'7'-14'1299,"-6"0"1,4-1-171,-3 1 0,-7 4-848,0 1 0,-6 5 0,1 0 1,-2 2-28,-3 2 0,-6 6 0,-3 4 0,-3 3-97,-2 1 1,2 7-1,2 3 1,2 2 37,2-2 0,7 1 0,6-4-771,2 1 1,1-4 0,5 1 0,1-4 0,3-4-299,0-2 1,8-4 0,-3 3 0,4-1-49,1-4 0,1 3 1357,-1-1 0,-6 1-285,-3-1 0,-3 3 1,-4 5-1,-3-2 358,-4-1 1,-4-1-1,-2 6 188,1-1 0,0-4 0,-1-1-1396,1 2 0,6 2 128,3 2 1,5-1 0,6-1-1,9-2 1,7-3-291,5-2 0,9-1 0,0-5 0</inkml:trace>
  <inkml:trace contextRef="#ctx0" brushRef="#br0" timeOffset="8357">3479 1307 14220,'0'15'-120,"0"-1"0,0 5 0,2 2 0,1 0-149,2 0 1,6 3-1,-3-5 1,2-2-5,-1-1 1,1-1 0,4-2-1,1-2 221,-1-2 0,0-5 0,1 0 0,-1-2 19,1-2 1,4 0 0,2 0 0,-1-2-231,1-2 1,0-3 0,-3-6-530,1-1 0,5 3 0,-3-8 206,1 3 1,-4-5-1,2-2 1</inkml:trace>
  <inkml:trace contextRef="#ctx0" brushRef="#br0" timeOffset="8689">3940 1681 10806,'-15'0'958,"7"0"0,0 0 0,5-1 0,-2-4 0,2-5-484,2-2 0,1-4 0,1-2 0,2-3-297,2-1 0,10-2 1,-3-5-1,3 0-64,2 1 0,1 0 1,-4 3-1,1 1-70,-1-2 1,5 4 0,1-1-493,-3 3 1,-1 2 331,-1 8 0,-1 4 0,0 6 0,1 2 0,-1 4 1,1 8-82,-1 9 0,-1 6 0,-4 4-1236,-4 6 0,-5 4-564,-5 5 0,-3-3 0,-6 4 1</inkml:trace>
  <inkml:trace contextRef="#ctx0" brushRef="#br0" timeOffset="8963">4041 1638 8355,'0'-14'0,"0"0"0,0-1 0,0 1 0,0-1 0,1 1 0,4 0 0,-3 4 0,4 0 0,0-1 0,-2 5 0,7 1 1454,5 3 0,1 2 1,11 0-1,4 0 1,3 0-3913,5 0 0,8 7 1,3 1-1</inkml:trace>
  <inkml:trace contextRef="#ctx0" brushRef="#br0" timeOffset="19949">4588 1365 8401,'0'-15'426,"0"1"0,0 4 1,0 1-1,0-2-392,0-2-116,0 5 312,0 1 1239,0 7-84,0 0 1,-2 7-1278,-3 2 0,2 4 0,-6 3 1,-1 2-82,2 1 1,-3 7-1,4-2 1,1 3-13,0 2 0,-4-1 0,5 0-75,2-4 0,1 1 0,2-6 0,0-1 30,0-2 0,0-2 1,2-1-1,3-2 1,4-3-37,4-1 0,2-3 1,1-4-1,3 0-837,5 0 0,1 0 0,3-1 0,-1-2-377,3-2 0,2-6 0,-3 3 1</inkml:trace>
  <inkml:trace contextRef="#ctx0" brushRef="#br0" timeOffset="20698">4818 1480 7088,'-5'-14'617,"1"-1"1,-3 6 171,2-1 1,4 5-383,-4-4 0,-1 7 0,1 4 0,2 9-333,1 6 0,2 7 0,0-3 1,0 0-1,0 1 0,0-1 0,0 0 1,0-3-1,0-3 0,0 0 1,2-2-1,2-2 0,6-3-64,3-2 0,6-1 0,2-5 1,0-2 229,-1-2 1,4-4 0,-3-8 0,0-2-158,0-1 1,-4 0 0,-5 3 109,-3-3 1,-1 3-1,3-4 1,-3 3 0,-1-1-83,-4-1 1,-2 0 0,-1 4-1697,0 1 1,-1 6 46,-4 3 1,-3 4-1,-6 1 1</inkml:trace>
  <inkml:trace contextRef="#ctx0" brushRef="#br0" timeOffset="21024">5120 1710 8355,'0'-14'916,"0"-1"1,0 1 0,0 0-85,0-1 1,0-4 0,0-2-429,0-1 0,2-2 0,3-5 0,3 0-174,0 1 0,5 4 0,-4 0 0,4 0-64,1 1 0,-1 2 0,-2 9 0,-1 0 56,1 3 0,2 6 1,1-2-169,1 3 0,-6 9 0,1 2 0,0 6 0,-1 4-1229,1 5 0,-5 3 1,3 2-1,-2 1-1336,-3 4 1,-1-2 1938,-2 6 1,-7-6-1,-1 3 1</inkml:trace>
  <inkml:trace contextRef="#ctx0" brushRef="#br0" timeOffset="21487">5236 1610 8355,'-8'-23'418,"3"4"1,3 3 2132,2 2-1800,0-1 1,0 1 0,2 1-688,3 3 1,3 4 0,6 6 0,0 0-449,1 0 1,4 0 0,2 2 0,0 1-1812,-1 2 0,4 6 1545,-4-2 0,5-2 0,-2-1 0</inkml:trace>
  <inkml:trace contextRef="#ctx0" brushRef="#br0" timeOffset="21488">5696 1394 12158,'-6'-8'0,"-2"4"0,-2 8 0,2 5 0,0 4 0,0 1 0,-3 1 0,0 1 0,0 3 0,1 5 0,1 3 0,-1 2-1091,0 0 0,6-2 0,-4-2 303,1-1 0,-4-6 0,3 3 1</inkml:trace>
  <inkml:trace contextRef="#ctx0" brushRef="#br0" timeOffset="21792">5610 1322 10029,'10'4'-113,"-1"3"113,2 1 0,-3 1 0,2 6 1,1-1 44,2 1 1,3-3 0,2-2 0,1-5 0,-2-4 188,-1-1 1,-1 0 0,-1 0 0,1 0 202,-1 0 1,0-6-1,-1-4 1,-2-1 2,-1 2 1,-2-9 0,3 4 0,-3-2-178,-1 0 0,-1 0 0,-3-2 1,2-3-47,-2-1 1,0 4 0,1-3-451,0 1 1,1 4-3335,-5-4-397,0 11 3320,0 9 1,-6 14-1,-2 9 1</inkml:trace>
  <inkml:trace contextRef="#ctx0" brushRef="#br0" timeOffset="22136">6028 1581 8501,'0'8'978,"4"0"0,3-5 615,1 2 0,-3 0-1051,4-5 1,1 0 0,3-2-1,-2-3-120,-2-4 0,1-6 0,3-4 0,-2-3 0,-1-1 0,-7-2 0,2 4-336,-4-2 0,-1 4 0,0-3 1,0 1-392,0 3 0,-1 2 0,-4 4 1,-5 0-401,-3 3 0,-1 6 0,0-2 0,-1 5 0,1 6-2716,-1 9 2117,1 5 1,-7 9 0,-1 0 0</inkml:trace>
  <inkml:trace contextRef="#ctx0" brushRef="#br0" timeOffset="22513">6344 1624 8355,'0'-14'492,"0"-1"0,0 1 0,0-1 579,0 1 0,0 0 1,0-1-1,2 1-359,3-1 1,-2 1-472,6 0 1,1 1-524,4 3 0,-4 4 0,-2 7-199,-2 4 1,1 3 0,-4 7-92,2-1 1,1 5-1,-3 0 1,4-1 538,1-2 0,-3-6 0,4-2 0,2-2 499,2-3 1,2-1 0,1-2-1,1 0 1,4-2 311,1-3 0,1-7 1,2-9-1,-2-2-202,-2-2 0,3 2 0,-4-1 0,0 0-477,-4 2 1,1 1-1,-9 7 1,2-1-683,-1 1 0,-5 4-1875,0 1 0,-2 12 1,-2-1-1</inkml:trace>
  <inkml:trace contextRef="#ctx0" brushRef="#br0" timeOffset="23092">355 2027 9364,'-8'14'1139,"2"1"0,4 1 0,-1 3-1160,-2 5 1,-5 3-1,6 2 1,0 0 0,1 0-1,0 1 10,-2 4 1,0-4 0,5 4-1714,0-4 1,0-1 0,0 0 0</inkml:trace>
  <inkml:trace contextRef="#ctx0" brushRef="#br0" timeOffset="23361">427 1897 8355,'-2'-27'2016,"-1"3"0,-2 5-1472,2 3 0,2 6-1339,1 1 0,0 12 1,1 3-1194,4 10 1145,3 0 1,6 18 0,1-4 0</inkml:trace>
  <inkml:trace contextRef="#ctx0" brushRef="#br0" timeOffset="23809">657 2329 8355,'-9'0'0,"-1"-1"828,-1-4 1,3 2 0,0-7-40,1-1 1,1 0 0,3 0-1,-2 1-327,2-1 1,1-2-1,2-1 1,0-1-57,0 1 0,0-1-574,0 1 1,5 4 134,0 1 0,6 6 0,-3-1-505,0 8 0,5-1 0,-4 6 0,4 3-244,2 0 1,-1 1 0,0-2 0,1-3 514,-1-1 0,-4-1 0,-1-3 1004,3 2 0,0 0 1,3-5-1,-1 0 138,1 0 0,-1-2 1,0-2-414,1-6 0,-1-3 1,1-1-1,-3-1-481,-2 1 0,3 1 0,-5 2 0,1 3 0,-1 0 296,-1 0-2735,10 5 0,-7-4 1,11 7-1</inkml:trace>
  <inkml:trace contextRef="#ctx0" brushRef="#br0" timeOffset="24316">1464 2056 10901,'-8'-8'783,"3"1"1,10 7 0,6 0-1,5 2-1064,3 3 1,11-4 0,-1 4-1,1-3-400,1-2 1,-1 0 0,2 0-1,2 0-266,-2 0 1,-7 0 0,-1 0 541,2 0 1,1 0-1,2 0 1</inkml:trace>
  <inkml:trace contextRef="#ctx0" brushRef="#br0" timeOffset="24084">1521 2142 8355,'5'-14'0,"0"-1"771,-2 1 0,-1 4 0,-2 1 695,0-2 0,0 3-302,0-2-1203,0 7 0,0 3 1,0 9-1,0 6-290,0 4 0,1-1 0,2 6 1,2 1-346,-2 2 1,-1 2-1,-2 0-2150,0 0 2145,0-7 0,6 5 0,2-4 1</inkml:trace>
  <inkml:trace contextRef="#ctx0" brushRef="#br0" timeOffset="24784">1982 2027 9550,'-10'14'636,"1"1"0,5 4 1,-2 0-1,1 0-333,0 2 0,-4 2 0,4 5 0,2 0-985,1-4 0,2 3 1,0-5-1,0 2-530,0 0 1,0 0-1,0 5 1</inkml:trace>
  <inkml:trace contextRef="#ctx0" brushRef="#br0" timeOffset="24786">1967 2214 8355,'-8'0'1061,"2"0"1,8 2 0,2 1 0,6 2 0,3-2-1017,1-1 0,1 2 0,1 1 0,1-2 0,2-1 0,-1-2 0,-2 0 0,-2 0-742,1 0 1,4 0-1,0 0-218,-1 0 1,-1 0 0,1 0 0,1 0 278,-1 0 0,4 0 0,1 0 1</inkml:trace>
  <inkml:trace contextRef="#ctx0" brushRef="#br0" timeOffset="25200">2515 2085 8993,'-2'-13'1280,"-3"3"0,4 2-49,-4 3-487,3 4-2910,2-6 1335,0 7 2952,0 0 1,-1 5-1874,-4 0 1,2 6-56,-7-1 1,2 3 0,-3 3-48,1 3 0,1-2 1,-6 6-1,1-1 1,-1 1-1,1 2 1,1 1-1,2-1 230,1-1-414,1-6 0,1 3 1,3-7-1040,3 1 0,4-3 0,4-2 1,7-5-736,5-4 1,7-1 0,-2 0 0</inkml:trace>
  <inkml:trace contextRef="#ctx0" brushRef="#br0" timeOffset="25642">2759 2113 11361,'0'-14'2309,"-6"6"0,-4 3-1988,-2 4 0,-4 1 0,-2 1-135,-1 4 1,-5 0 0,3 6-1,0 2-178,0-2 1,2 0 0,5 4-1,1-1-504,3 0 1,4 1 0,6-1 0,0 1-1,2-1-656,2 0 1,4-1 0,8-2 0,2-1 535,1 1 0,0-3 1,-4 0-1,-1-1 233,1-4 1,-6 0 1118,1 2 97,-7-4 1,2 12 2156,-10-3 1,-3 3-2090,-6 1 1,1-4-381,3-1 1,4 1-741,6 4 1,1-1 0,4-2-1,6-3-1208,7-1 1,4 2-870,7-4 1,0 0 0,0-5 0</inkml:trace>
  <inkml:trace contextRef="#ctx0" brushRef="#br0" timeOffset="26329">3450 2229 9327,'-9'0'647,"-1"0"0,7 1 0,-3 4 0,1 5 0,0 2 0,2 4-676,1 4 1,1-3-1,-3 7 1,0 0-1,0 0-617,3 0 1,1-5 0,0 4 0,0-2-9,0-4 1,0-6 0,1-3-14,4-1 0,-2-4 601,7-8 0,-7-3 0,4-6 0,-3-2 330,1-3 1,5 1 0,-4-6 49,2-2 0,0 4 1,3-2-1,-1-2 294,1-1 0,2-2 1,0 1-1,-2 0-134,-1 4 1,-1 2 0,6 4 0,-1 1 0,0 2-140,1 4 1,-6 8 0,-1-3 0,0 1-476,0 0 1,-3 2 0,3 8 106,-1 4 1,-3 9 0,-4 1 0,-1 0-1,-6 0 1,-5 1 0,-8-1 0,-2 0 0,-4 0-1,1-3 1,1-3-532,5-3-193,3-1 1,-2 1 0,2-2-1,5 0-501,3 0 0,-3 1 0,3 6 1</inkml:trace>
  <inkml:trace contextRef="#ctx0" brushRef="#br0" timeOffset="26701">4041 2157 8355,'-15'0'2649,"6"1"-2384,-1 4 1,0 3-1,-2 6 1,0 1-394,3-1 0,1 1 0,-3-1 0,3 0-143,1 1 1,2-6-224,5 1 0,7-8 0,2-2 318,4-8 1,-3-5 0,-1-2-1,1-1 163,-2-3 1,3 2-1,-4-6 1,-1 1 18,0-1 0,-1 6 0,-5-4-1,0 0-772,0 5 0,0-5 0,0 7 0</inkml:trace>
  <inkml:trace contextRef="#ctx0" brushRef="#br0" timeOffset="27504">4314 2128 9876,'-8'-7'-367,"2"7"1,6 0 384,0 8 1,-5 5 0,0 3-1,0 2 1,1 3 182,-1 1 0,0 2 0,5 5 162,0 0 0,0-2 0,0-3 0,0-5 731,0-3 1,0-2-85,0 1 1,0-9-627,0-6 0,2-6 1,2-10-1,6-2-242,3-1 0,1-2 0,1 2 0,1-3-94,3-1 1,-3-4-1,3 5-72,-3-1 1,-2-2 0,2 5 0,2 3-104,1 1 1,-1 1-1,-7 3 1,-1 2 14,1 5 0,2 4-505,1 1 0,-6 1 0,-3 4 0,-4 5 74,-1 2 0,0 3 1,-1-1 396,-4 1 1,-3-1 0,-6 0 0,-1 1-1124,1-1 1,-1-4-603,1-1 1343,6-5 1,2 8 0,6-4 0</inkml:trace>
  <inkml:trace contextRef="#ctx0" brushRef="#br0" timeOffset="27505">4962 2099 8355,'-6'-13'3482,"-4"2"-2831,-3 1 1,-1 7-1,0-2-374,-1 4 1,-6 2 0,-3 4 0,-1 5-187,1 3 0,-3 1 0,4 0 1,1 1-1,3-1 0,4 1 0,6-1-532,4 0 1,3-4 0,2 0 0,0 1 0,2 0-144,3-1 1,4 1-73,10-6 0,-3 4 0,4-2 1078,-4 1 0,-7-4 0,-1 6-88,-1 1 0,-3-3 1,-5 2-1,-4 1 1,-3 2-1,-2 0 1,2-2-1,0-3 1,2 0-1,0 0-1559,2 3 1,3-3-434,1 2 0,13-7 0,3 3 1</inkml:trace>
  <inkml:trace contextRef="#ctx0" brushRef="#br0" timeOffset="28001">5221 2171 8355,'-1'-19'0,"-4"0"0,3-1 3672,-3 6 0,2 4-3189,-2 1 1,2 6 0,-6-2 0,-1 5-611,2 5 0,-5 4 0,4 9 0,-3 3 23,3 1 1,-4 2 0,5 5 0,0-2-130,3-3 1,4 2 0,1-7-1,0-2-647,0-1 0,0-1 210,0-1 1,6-1 0,5-3 0,7-6-957,6-2 1,-2-2 1034,2 0 1,7-6 0,5-2 0</inkml:trace>
  <inkml:trace contextRef="#ctx0" brushRef="#br0" timeOffset="28002">5466 2229 9631,'0'-15'366,"-5"6"0,0-1 1,2-1-1,2-2 1091,1-1 0,-5-7 0,0-2-568,2 1 0,1-5 1,1 3-1,-3-3-303,0-2 1,-1 5 0,5 1 0,0 3-700,0 2 1,0 7-730,0 1 0,0 10 0,0 3-5012,0 10 4096,6 11 0,2-1 0,7 5 0</inkml:trace>
  <inkml:trace contextRef="#ctx0" brushRef="#br0" timeOffset="28357">5581 2387 6497,'-8'6'1995,"3"-6"0,4-6 0,1-8-1379,0-1 1,5-1 0,1-1 0,2-4-150,3-2 1,2 4 0,0-5-1,-2 0-41,-1 2 0,-2-4 0,3 7 0,-3 1 413,-2 2-1161,5 2 0,-9 4 1,4 2-543,1 2 0,-6 8 0,4 7 199,-3 4 1,3 1 0,1 1 0,0-1-1,1 1 1,4-3 0,-1 0 235,2-3 0,3-1 0,1 2-43,3-5 0,-1-4-326,6-1 1,-7-6-1,4-2 1</inkml:trace>
  <inkml:trace contextRef="#ctx0" brushRef="#br0" timeOffset="28789">6215 2070 8355,'-10'-8'1409,"0"3"1,6 2 0,-6 0 0,-1-2-981,-2 2 1,-1 1 0,-2 4-1,-2 1-139,-1 2 0,0 5 0,4-4 0,1 0 0,0 2-341,-1 0 1,7-3 0,3 5-434,4 1 1,1 2 0,1 0 0,4-2-264,5-2 0,3-1 0,-1 4 0,0-3-409,-3 2 0,1-3 1177,4 2 0,-6 0 513,-3 4 1,-5-1 0,-3-2 604,-2-1 0,-6-6 0,3 6 25,0 1 1,-3 2-792,6 1 0,0-4 0,5 0-468,0 1 0,6-3 0,4 1 0,4 1 397,6-2-2760,2-2 0,7 1 1,-1 1-1</inkml:trace>
  <inkml:trace contextRef="#ctx0" brushRef="#br0" timeOffset="29008">6402 2301 8355,'-8'-7'5920,"1"4"-4056,7-7-1425,0 7-2897,0-3 0,0 12 1,0 2-1</inkml:trace>
  <inkml:trace contextRef="#ctx0" brushRef="#br0" timeOffset="45622">7089 903 6808,'-14'0'0,"1"-1"0,2-3 229,1 0 1,6-1 0,-6 5 0,-1 0 0,-2 0 0,-1 0 0,1-2 0,5-1 0,8-2 246,8 2 0,13-5 1,9 0-1,13-1-325,13-1 1,9 1-1,11-4 1,7 2 11,6 1 1,-4 7-227,5-2 0,-10 4 0,4 1 36,-4 0 0,-10 1 0,-7 4 0,-2 4 36,-4 4 0,4 2 0,-10-1 18,0 0 1,-7 0 0,-7 1-1,-2-1-2,-3 0 1,-2-1 0,-3-2 0,-3-1-1,-5-1 87,-3-1 0,-7 0 0,1-4 212,1 0-589,-5 1 0,7-5-350,-3 0 0,2 2 47,3 2 0,-1-2 0,0 3 0,1-4-77,-1-1 1,7 7 0,1 1 0</inkml:trace>
  <inkml:trace contextRef="#ctx0" brushRef="#br0" timeOffset="46462">8536 889 8355,'-8'-7'-1099,"-5"6"1230,5-12 1,-1 12 0,1-6 0,0 2 0,0 1 0,-2-1 776,2-2 1,-3 4 212,6-6-668,0 6-496,5-4 96,0 7 1,2 0 0,4 0-1,7 2-41,5 3 0,12-2 0,-1 6 1,2 2-91,4 2 1,-4-2 0,2 2 0,-3 3-164,-1 0 1,-5 0-1,-2-2 186,-1 0 1,-2 1-1,-5-1 1,-1 0-1,-4 1-42,-4-1 1,-3 0 0,-2 1 103,0-1 1,0 0-1,-2-1 1,-3-2 580,-4-1 1,-4-2 0,-1 3 0,-2-3 0,-2-2-232,-1-3 1,0 4 0,3-3 0,-1 0-184,-2-3 0,0 1 0,4 1 0,1 2-122,0-2 0,-1-1 0,1-2 0,0 0-172,-1 0 0,1 4-96,0 1 0,4 0 142,1-5 295,5 0 0,-2-2 0,8-1-80,2-2 1,-2-6 0,4 2 80,1-4-217,-6-1 0,6-1 0,-7 1 48,0 0 0,4-1 0,1 1 0,-2 0-6,-1-1 1,3-4 0,1 0-58,2 2 1,0-4 0,3 2 0,-1 1 0,-1 2 79,-1 2 1,0 1-599,-3 4 0,-2 2 1,5 11-4075,-1 5 3481,-3 7 0,3 13 0,1-1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21.296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758 231 8569,'-7'-1'0,"-1"0"0,1-3 0,0 1 0,0-1 0,0 1 0,-1-1 0,-2 0 1452,-2-2-1258,2 0 1,-7 1 0,3 0 0,-2 1 0,-1-1 0,0 1-1,-2 1 1,-1 1 61,-1 1 1,0 1 0,-1 0 0,0 0 0,1 0 0,-1 1 0,1 1 0,-1 1-110,0 1 1,1-2 0,-1 3 0,0 1-103,1 0 0,-2-1 1,0 0-1,0 0-18,2 2 1,-2 0 0,4 0 0,1 0-52,2 0 1,2 1 0,0 1-13,2 1 1,-1 2 0,3-2-1,2 1-60,0 2 1,1 2-1,2 2 1,1 1-1,0 2 4,0 2 1,2-2 0,0 4 41,1-2 1,1 2 0,1 0 0,1 0-1,3 0-9,1 0 1,6 3-1,2-3 1,1 0-9,4 1 0,-1-3 1,4 3-1,2-2 23,4-1 0,3 0 1,1-6-1,0-1-24,0-3 0,2-4 0,0 0 152,1-2 0,-1-4 0,0 0 0,0-1 24,1-1 0,-3-1 0,-2-1 0,0-1 38,-3-1 1,-1-1 0,-3-3 0,-1 0 0,-1-3 20,0 0 1,-3-1 0,1-2-1,-2-1-28,-1 1 0,-1-4 0,-2-2 0,-1-2 146,0-2 0,-1-4 0,-2 2 1,-1-2-33,0-1 0,-2 3 1,0-2-1,-2 0-21,-1 0 0,-1-2 0,-2 4 1,0 0-66,0-1 1,-1 3 0,-1-1 0,-4-1-25,-2 0 1,-4 3 0,-2-2-122,0 1 0,-2 4 0,0-2 1,-4 1-163,-4 0 1,1 3 0,-3 2 0,1 2 0,-1 2 38,-1-1 1,-1 3 0,-1 1 0,1 3-473,2 4 1,1 1 0,3 1-1,1 1-792,2 1 1,1 4-531,4 6 1,-4 7-1,0 6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19.846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578 253 6797,'-3'-7'0,"0"1"0,-1 0 0,-1 1 482,-2 0 0,2 1 0,1 1 0,0 1-290,0-1 0,-1-2 0,-2 0 0,0-1 10,0 1 1,0 0-1,-1 2 1,-1-1 17,-1 1 1,1 1-1,1 1-103,1-1 0,-2 1 0,-2-2 0,0 3 114,-2 0 1,-1 2 0,0 1 0,0 0-120,-1 1 1,-2 1 0,-2 0 0,1 1-20,1 2 0,-1-1 0,1 0 1,-2 0-16,-1 1 1,3-1 0,0 0-1,2 1-63,0 2 1,3-2 0,1 1 0,0 0 3,-1 1 1,4-2-1,-3 2 1,2 0-1,-1 2 1,1 0-55,1 0 0,1 1 37,0 3 1,0 0 0,2 0 0,1 0-43,1-2 0,-2 3 1,2 0-1,2-1 20,0 2 0,1-2 0,0 3 0,1-1 13,1 0 1,2 2 0,3 0 0,1 0 3,-1 0 1,2-2-1,2 2 1,0-1-1,1-2 5,-1-1 0,3 0 0,-2 0 54,2 1 0,0-2 0,1-3 1,1 0-1,1 1-22,-1-1 0,2 1 0,0-3 44,3-2 0,-3-3 0,4-2 0,0-3 11,2 0 0,0 0 0,-3 0 0,1-3-87,0-2 1,-1-1-1,1-2 1,-1-1-39,1 0 0,-1-2 1,-1 2-1,-1-1 64,1-1 1,-2 1-1,-1-2 1,-2 0-1,-1 0 30,1 0 0,-2 0 0,0-2-16,-1 2 1,-2-1 0,1 1 0,-1-2-10,-1 0 1,-1-1-1,-1 0 1,1-1-1,-1-1 1,-1 0 109,-1 0 1,1 1-53,-4-3 1,0 2-1,-2-3 1,0-2 32,0-1 1,0-3 0,-3 1-1,-2-3-21,-1-1 1,-2 0 0,-2-3-97,-2 2 1,0 1 0,-2 4-1,0 0 1,-4-1-24,-2 1 0,-2 1 0,0 1 0,-1 3 0,-2 3-28,-1 2 1,-2 4-1,-2 1 12,2 2 0,6 3 0,-1 1-234,0 1 0,-1 1 0,3 3 0,1 0 0,2 2 0,0 1-4215,2 2 3397,1 7 0,1-1 0,-1 5 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31.347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22 138 8355,'0'-7'-277,"0"0"1,0 0 293,0-1 1,0-1 0,-1-2 0,0 1 277,-2-1 1,0 1-1,2 1 1,-2-1 0,1 2 329,-1 0 1,2 3 0,-2 0 645,3-1-792,0 3-501,0 0 1,4 4-1,2 2 1,4 4 100,1 4 1,1 5 0,2 3 0,2 5-60,1 3 0,-2 4 0,2 2 0,-2 4-106,-1 2 0,1 0 0,-1 1 0,-2-2 61,-3-5 0,-1-4 0,0-6 1,-2-1-89,-1-4 1,0-4 0,-2-3 0,-1-1-1942,1-1 293,-2-1 1141,2-4 0,-3-1 217,0-6 1,4-4-1,0-4 1</inkml:trace>
  <inkml:trace contextRef="#ctx0" brushRef="#br0" timeOffset="408">174 500 8355,'0'4'746,"0"-1"0,0-2-557,0 1 0,0 0 1,1 3-1,1 0 168,3-1 0,-1 4 0,1 0-11,1 0 1,-1 0-1,1-1 1,-1 1-143,0 2 1,1-2 0,0 0 0,-2-1 301,-1-2-251,2-4 0,-3 3-98,3-4 1,-3-4 0,2-3 0,0-3 65,-3-1 0,2-1 0,0-3 0,-2-1-114,0-1 1,-1 0 0,0 3 0,0 2-153,0-1 0,-2 7 1,-1-1-266,2 0 1,0 3-1,0 0 1,0 2-815,-2 3 1,-2 2 0,3 5-2778,0 2 3273,-2 1 0,3 3 0,-2 1 1</inkml:trace>
  <inkml:trace contextRef="#ctx0" brushRef="#br0" timeOffset="1101">-21 138 8571,'-3'5'956,"1"0"-536,0-4 1,1 3-1,-1-5 1,0-2 0,0-2-1,1-3 1,1-2 154,-3 1 0,2-2 1,-1-1-322,1-2 1,1 0-1,0-1 1,0 1 30,0 0 1,0 1 0,0 2-84,0 1 0,0 0 0,0 3-248,0 0-440,0 3 1,1 0 0,1 5-783,3 2 1,2 0 0,0 3 1107,0-2 1,0 1 0,1 2 0,-1 1 187,0-1 1,0-1 0,0 0 0,-2-2-19,0-1 1,0 2 132,2-3 1,-2 3-1501,0-2 1,-4-1-1,3-2 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25.189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3628-4448 8636,'0'-7'0,"-1"0"0,-1-1 0,0 1 0,0 1 0,-1 0 0,0 1 294,-1 0 0,2 1 1,-2-1-1,0 0 0,0 0 1,0 1 1,0 1 0,0-3-270,-4 2 0,1 0 1,-1 0-1,-1 0 1,-1 3-91,-1 0 0,-2-1 1,-4-1-74,-2 2 1,-3 1 0,-1 1-1,-2 2 147,0 1 1,-3 1 0,-1 2-1,-1-2 11,2 0 0,0 0 0,-3 2-19,0 0 0,-2 1 1,3-1-1,0 0 1,0 0-10,0 0 1,4 1 0,1 1 0,2 1-86,1-1 0,-1 1 0,4 0 0,-1 1 1,0 0 34,4 0 0,0-1 1,2 2-1,0 1-22,2 0 0,-1 2 0,4-1 10,0 1 1,1-1 0,1 0 0,0 2 12,3 0 0,-2 1 1,4 1-1,0 0 2,1-2 0,1 1 1,0 0-1,0 0 56,0 0 1,3-1 0,2 1 0,2-2 0,3-2 182,2-1 0,2 2 0,3-2 1,3 1-70,0-1 1,5-2 0,2-2-78,1 2 0,0-2 0,2 1 0,1 0 0,0-2-91,-1 0 1,-1 3-1,-2-1 1,-3 0-59,-2-1 0,-1 2 0,-1-1 0,-2 0 48,0-1 0,1-2 0,-1 0 0,0-2 0,2-1 288,1-1 0,1-2-158,2-3 1,0-1 0,1-6 0,0-1 9,-2 0 0,2-3 0,-1 2 0,0-2 112,-2-3 1,0 2 0,-1-2-1,1 1 1,-1 2 68,1 0 0,-1-1 1,-1 0-1,-2-1 170,0-1 0,1 0 1,-1 2-1,-1-1-262,-2-1 0,1 0 0,-4 1 0,2-2-36,0 0 0,0-2 0,-2 0 1,0-1-65,-2 2 1,0 0 0,-1-3 0,0 2-107,-3 0 1,1 0 0,-5 1 57,0 1 1,-1-3-1,-2 2 1,-2 0 21,-1 0 1,-5 2 0,-2-2 0,-1 0-79,-3 0 1,0 2 0,-5 2 0,-2 2 0,-5 0 0,-5 2-294,-6 0 0,-3 5 0,-8 3-1085,-2 3 0,0 0 0,-2 4 0,3 3 682,2 4 1,-5 6-1,2 1 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28.787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3641-3696 8355,'-2'-10'-11,"-2"1"215,0 0 0,2 1 248,-3 1 1,3-1-1,0 1-174,1 0 0,2 3 1,1 1-186,3 3 1,5 0 0,2 1-1,2 3 1,3 4 0,3 3-1,1 2 1,3 4 0,1 3 136,0 3 1,2 4-291,2 7 1,-3-2-1,1 7 1,-1 2-269,0 3 1,-1 0 0,-4 1-1,-2-2 132,-2-2 0,-3-4 0,-1-1 0,-2-5 246,0-4 1,-2-4-1,-4-5 1,0 0-43,1-2 1,-2-1-1,0-3 1,-1-3-229,-1-1 0,1 0-901,-1-1 0,4-5 687,-1-4 0,1-5 0,1-8 0</inkml:trace>
  <inkml:trace contextRef="#ctx0" brushRef="#br0" timeOffset="1319">3641-3580 8355,'0'5'-1495,"0"-1"2402,0-2 0,-1 1 0,0-4 1,-2-1-320,2-3 0,-1-1 1,0-2-1,0-1 0,0-2 1,-1 0-1,0-2 628,-1 0-1086,2-2 1,-2 1 0,3-1-1,-2 2 1,1 0 66,-1 1 1,1 0-1,-2 0-102,1 0 1,-2 3-1,3-1-16,0 2 0,0 2 0,1 0-1060,-2 1 234,1 4 0,3-3 0,1 5 551,3 2 0,1 1 0,2 2 0,-1 0 51,0-2 1,1 0 0,1 2 0,1-2 455,-2-1 0,3 2 1,-2-2-1,-2 1-171,-1-1 0,-2 0 0,1-1 1,-1 1-614,-1 1 0,0-2 0,-3 3 0,0 1-3964,0 0 3749,0 1 0,0 4 0,0 0 1</inkml:trace>
  <inkml:trace contextRef="#ctx0" brushRef="#br0" timeOffset="453">4046-3117 10745,'3'7'548,"0"1"1,3 1-251,-1 0 0,0 5 0,2 0 1,1 2-1,1 3 35,0 1 1,1 1-269,-3 1 0,0-1 0,1-2 0,-2-3 0,0-3 0,-2-4 0,0-1 490,0 0 0,-3-5 0,3-3-190,-1-4 0,0-8 0,3-3 0,-2-3-166,-1-2 1,-1-4 0,-1 0-199,2-2 0,-3 5 1,3 0-1,-2 3-115,-1 2 0,0 1 1,0 3-1,0 2-470,0 2 0,0 3-989,0 1 0,0 3 0,0 1 46,0 4 0,-4 6 0,0 1 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3:27.823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4639-2597 7263,'-7'0'-44,"2"-2"0,0-1 1,0 1-1,0 0 1,1-2 738,-2 0 1,0 3-470,-2-2 0,4 0 0,-1 0-49,-1-1 1,-3 1 0,0-1 0,-1-1 15,-1 1 0,1-3 1,-3 3-1,0 0-121,-2-1 0,0 1 0,-4-2 1,-2 2-1,1 0-98,-2 0 1,-3 2 0,-2 0 0,-3 1-45,-1 1 1,-3 3-1,2 0 1,-1 1 9,-2 1 0,1 3 0,-1 1 0,3 0-62,2 0 1,-3-1 0,5 0 0,0 1 17,1 1 1,3 2 0,1 0 0,2 0-75,2 0 1,3 0-1,-1 3 89,2 2 0,0-2 1,1 3-1,0 0 6,2 1 0,2-1 1,3 1-1,2-1 0,3 1-24,1 1 0,1-2 0,0 1 178,0-1 1,2 1 0,2-1 0,5 0 0,3 1 45,3 0 1,4 1 0,1-3 0,4-1 11,2-1 0,5-1 1,4-2-1,2-3 45,2-1 0,5-1 1,-1-2-1,0-2-121,-1 0 1,2-2 0,-2 1 0,0-2-31,1-2 1,-4 0-1,0-5 1,-1-2 55,-2-1 0,1 0 1,-5-3 77,-2-2 0,0 2 0,-3-3 1,-2-1 96,-3 0 1,-2 0 0,1-2 0,-2 1 92,-2-1 0,-4 0 0,-2-3 0,-1 0 0,-1-2-99,-1 0 0,-4 0 0,-1 3 0,-3-2-151,-3-1 1,-1 1 0,-6 0 0,-2 2-151,-2 2 1,-6 2 0,-2-1-1,-3 0-204,-3 2 1,-2 1-1,-2 3-112,-1 3 1,1 1 0,-1 0 0,-1 2-1,1 1 1,2 3 0,1 2 0,2 3-1011,1 4 0,-1 4 0,2 3 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16-09-14T12:26:27.494"/>
    </inkml:context>
    <inkml:brush xml:id="br0">
      <inkml:brushProperty name="width" value="0.04536" units="cm"/>
      <inkml:brushProperty name="height" value="0.04536" units="cm"/>
      <inkml:brushProperty name="color" value="#0CAC38"/>
    </inkml:brush>
  </inkml:definitions>
  <inkml:trace contextRef="#ctx0" brushRef="#br0">13 4044 8300,'-8'-6'219,"3"-4"0,5-1 0,3 0 1,4 2-1,1-3 0,1 0 1,1-3 506,-1 1 1,6-2-496,4-3 0,6-3 1,-1-7-1,5-1 1,2-4-1,6-5 1,3-6-1,4-4 1,1-2 128,0-3 1,2-4 0,3-4-1,-1-4-196,0-5 1,5-2 0,-3-3 0,0-4-31,-3 1 0,3-4 0,0 7 1,0-1-44,-3-1 0,2-1 1,-24 35-1,-1 0 1,2 0-1,-1-1-61,0 0 0,0-1 0,0 0 1,1 0-1,2 0 0,1 0-28,1-4 0,0-1 0,-3 4 0,0 1 0,1-4 0,0-1 0,0 1 0,0 0 0,-2 2 0,0 0 59,1 1 0,0-1 0,-3 3 0,-1 1 0,0-3 0,0 0-3,-2 1 1,0 0 0,20-45 0,-3 3 0,0-1-1,-1 0 25,-2 5 1,4 1 0,-8 10 0,-3 4 51,-4 4 1,-3 3-1,2 6 1,-5 4 19,-3 4 0,-3 5 0,-3 3 0,-4 4 0,-1 1-48,-1 3 1,1 3 0,-5 5-278,0 5 0,0 3 1,0 2-1979,0 0 46,0-1 1,0 6 386,0-1 1,-6 14 0,-2-3 0</inkml:trace>
  <inkml:trace contextRef="#ctx0" brushRef="#br0" timeOffset="1507">170 4474 8355,'0'8'564,"0"-2"0,2-6 0,3 0-218,4 0 1,4 0 0,1 0-1,2-1 144,3-4 0,12-3 0,13-6 0,12-4-205,9-6 1,8-1 0,8-13 0,9-4-97,-45 19 1,2 0 0,3 0 0,0 0 0,0-3 0,0-1-134,4 1 0,1-2 0,-3 0 1,-1-1-1,0-1 0,0 0 1,-1-2-1,0 0 50,-1-1 1,-1 1-1,1-1 1,-1-1 0,2-2-1,-1 0 1,0 0 0,-1-1-1,-1 0 1,-2 1 77,-1 0 0,0 0 1,2-1-1,0-1 1,-5 6-1,-1-1 1,-1 0-1,-1 1 78,32-30 0,-8 8 0,-10 3 0,-5 1 0,-8 4 0,-4 8 0,-6 3 0,-2 3-82,-3 4 0,-3-3 0,-7 12 0,-1 2-127,-4 1 0,4 1-1749,-3 1 220,-4 0-184,0 6 0,-4 2-803,3 6 1,-2 0 1352,6 0 1,-5 6 0,2 2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93266-B19A-7E45-AFE9-22924ECFB4A1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BBCF29-9F81-5443-A059-8C02EBB3233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3149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ord processors have reduced the cost of writing a word or a sentence…. But we have not produced better literatur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E8B5B-93BE-194B-B603-0C2EEA64066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659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inally, true measurement.</a:t>
            </a:r>
          </a:p>
          <a:p>
            <a:r>
              <a:rPr lang="en-US" dirty="0" smtClean="0"/>
              <a:t>I think everything matters here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53124F-A1DF-6841-AF40-E8C1E1E4356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77087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67339B5-752F-4865-A8C3-EEA19900925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4615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2CD946-8B74-47C3-82ED-B798788B8F21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433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901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230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346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F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81" t="40398" r="53915" b="2654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351" y="5486405"/>
            <a:ext cx="1484354" cy="1145163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0050" y="3602038"/>
            <a:ext cx="8401050" cy="893762"/>
          </a:xfrm>
        </p:spPr>
        <p:txBody>
          <a:bodyPr>
            <a:norm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00050" y="5257800"/>
            <a:ext cx="6286500" cy="13716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14950" y="3810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43150" y="11430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86050" y="47244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172200" y="49530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0050" y="1524004"/>
            <a:ext cx="8401050" cy="1985963"/>
          </a:xfrm>
        </p:spPr>
        <p:txBody>
          <a:bodyPr anchor="b">
            <a:normAutofit/>
          </a:bodyPr>
          <a:lstStyle>
            <a:lvl1pPr algn="ctr">
              <a:defRPr sz="66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9704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1371600"/>
            <a:ext cx="9144000" cy="3657600"/>
          </a:xfrm>
          <a:prstGeom prst="rect">
            <a:avLst/>
          </a:prstGeom>
          <a:solidFill>
            <a:schemeClr val="tx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0050" y="1122363"/>
            <a:ext cx="8401050" cy="2387600"/>
          </a:xfrm>
        </p:spPr>
        <p:txBody>
          <a:bodyPr anchor="b">
            <a:normAutofit/>
          </a:bodyPr>
          <a:lstStyle>
            <a:lvl1pPr algn="ctr">
              <a:defRPr sz="66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0050" y="3602038"/>
            <a:ext cx="8401050" cy="1350962"/>
          </a:xfrm>
        </p:spPr>
        <p:txBody>
          <a:bodyPr>
            <a:norm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00050" y="5257800"/>
            <a:ext cx="6286500" cy="13716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351" y="5486405"/>
            <a:ext cx="1484354" cy="114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9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0050" y="1122363"/>
            <a:ext cx="8401050" cy="2387600"/>
          </a:xfrm>
        </p:spPr>
        <p:txBody>
          <a:bodyPr anchor="b">
            <a:normAutofit/>
          </a:bodyPr>
          <a:lstStyle>
            <a:lvl1pPr algn="ctr">
              <a:defRPr sz="66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0050" y="3602038"/>
            <a:ext cx="8401050" cy="1655762"/>
          </a:xfrm>
        </p:spPr>
        <p:txBody>
          <a:bodyPr>
            <a:norm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351" y="5486405"/>
            <a:ext cx="1484354" cy="1145163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00050" y="5257800"/>
            <a:ext cx="6286500" cy="13716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9367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F3A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681" t="40398" r="53915" b="2654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351" y="5486405"/>
            <a:ext cx="1484354" cy="11451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371600"/>
            <a:ext cx="9144000" cy="3657600"/>
          </a:xfrm>
          <a:prstGeom prst="rect">
            <a:avLst/>
          </a:prstGeom>
          <a:solidFill>
            <a:schemeClr val="tx1"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0050" y="1524004"/>
            <a:ext cx="8401050" cy="1985963"/>
          </a:xfrm>
        </p:spPr>
        <p:txBody>
          <a:bodyPr anchor="b">
            <a:normAutofit/>
          </a:bodyPr>
          <a:lstStyle>
            <a:lvl1pPr algn="ctr">
              <a:defRPr sz="66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00050" y="3602038"/>
            <a:ext cx="8401050" cy="893762"/>
          </a:xfrm>
        </p:spPr>
        <p:txBody>
          <a:bodyPr>
            <a:normAutofit/>
          </a:bodyPr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00050" y="5257800"/>
            <a:ext cx="6286500" cy="13716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314950" y="3810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43150" y="11430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686050" y="47244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6172200" y="4953000"/>
            <a:ext cx="1714500" cy="3048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 i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Theme Label</a:t>
            </a:r>
          </a:p>
        </p:txBody>
      </p:sp>
    </p:spTree>
    <p:extLst>
      <p:ext uri="{BB962C8B-B14F-4D97-AF65-F5344CB8AC3E}">
        <p14:creationId xmlns:p14="http://schemas.microsoft.com/office/powerpoint/2010/main" val="1236585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ntent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334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825625"/>
            <a:ext cx="405765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7150" y="6400805"/>
            <a:ext cx="2057400" cy="365125"/>
          </a:xfrm>
        </p:spPr>
        <p:txBody>
          <a:bodyPr/>
          <a:lstStyle>
            <a:lvl1pPr algn="l">
              <a:defRPr/>
            </a:lvl1pPr>
          </a:lstStyle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0" y="152400"/>
            <a:ext cx="9144000" cy="38916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514850" y="1828800"/>
            <a:ext cx="4286250" cy="37338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4514850" y="5638800"/>
            <a:ext cx="4286250" cy="228600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725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33400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152400"/>
            <a:ext cx="9144000" cy="38916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63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925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701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694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8248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908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6332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007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90D3A8-B53F-1448-86A4-A8246434FC9F}" type="datetimeFigureOut">
              <a:rPr lang="en-US" smtClean="0"/>
              <a:t>10/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9F14FF-0F3C-4FA8-AE46-555B57247E89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8115302" y="6019800"/>
            <a:ext cx="875729" cy="67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814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649" r:id="rId13"/>
    <p:sldLayoutId id="2147483660" r:id="rId14"/>
    <p:sldLayoutId id="2147483662" r:id="rId15"/>
    <p:sldLayoutId id="2147483666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8" Type="http://schemas.openxmlformats.org/officeDocument/2006/relationships/image" Target="../media/image26.png"/><Relationship Id="rId26" Type="http://schemas.openxmlformats.org/officeDocument/2006/relationships/image" Target="../media/image30.png"/><Relationship Id="rId3" Type="http://schemas.openxmlformats.org/officeDocument/2006/relationships/image" Target="../media/image17.png"/><Relationship Id="rId17" Type="http://schemas.openxmlformats.org/officeDocument/2006/relationships/customXml" Target="../ink/ink2.xml"/><Relationship Id="rId25" Type="http://schemas.openxmlformats.org/officeDocument/2006/relationships/customXml" Target="../ink/ink5.xml"/><Relationship Id="rId2" Type="http://schemas.openxmlformats.org/officeDocument/2006/relationships/image" Target="../media/image16.png"/><Relationship Id="rId16" Type="http://schemas.openxmlformats.org/officeDocument/2006/relationships/image" Target="../media/image25.png"/><Relationship Id="rId29" Type="http://schemas.openxmlformats.org/officeDocument/2006/relationships/customXml" Target="../ink/ink7.xml"/><Relationship Id="rId1" Type="http://schemas.openxmlformats.org/officeDocument/2006/relationships/slideLayout" Target="../slideLayouts/slideLayout2.xml"/><Relationship Id="rId24" Type="http://schemas.openxmlformats.org/officeDocument/2006/relationships/image" Target="../media/image29.png"/><Relationship Id="rId32" Type="http://schemas.openxmlformats.org/officeDocument/2006/relationships/image" Target="../media/image33.png"/><Relationship Id="rId23" Type="http://schemas.openxmlformats.org/officeDocument/2006/relationships/customXml" Target="../ink/ink4.xml"/><Relationship Id="rId28" Type="http://schemas.openxmlformats.org/officeDocument/2006/relationships/image" Target="../media/image31.png"/><Relationship Id="rId19" Type="http://schemas.openxmlformats.org/officeDocument/2006/relationships/customXml" Target="../ink/ink3.xml"/><Relationship Id="rId31" Type="http://schemas.openxmlformats.org/officeDocument/2006/relationships/customXml" Target="../ink/ink8.xml"/><Relationship Id="rId4" Type="http://schemas.openxmlformats.org/officeDocument/2006/relationships/customXml" Target="../ink/ink1.xml"/><Relationship Id="rId22" Type="http://schemas.openxmlformats.org/officeDocument/2006/relationships/image" Target="../media/image28.png"/><Relationship Id="rId27" Type="http://schemas.openxmlformats.org/officeDocument/2006/relationships/customXml" Target="../ink/ink6.xml"/><Relationship Id="rId30" Type="http://schemas.openxmlformats.org/officeDocument/2006/relationships/image" Target="../media/image3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tags" Target="../tags/tag14.xml"/><Relationship Id="rId21" Type="http://schemas.openxmlformats.org/officeDocument/2006/relationships/image" Target="../media/image20.png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notesSlide" Target="../notesSlides/notesSlide4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10" Type="http://schemas.openxmlformats.org/officeDocument/2006/relationships/tags" Target="../tags/tag21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1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customXml" Target="../ink/ink9.xml"/><Relationship Id="rId7" Type="http://schemas.openxmlformats.org/officeDocument/2006/relationships/customXml" Target="../ink/ink11.xml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customXml" Target="../ink/ink10.xml"/><Relationship Id="rId10" Type="http://schemas.openxmlformats.org/officeDocument/2006/relationships/image" Target="../media/image35.png"/><Relationship Id="rId4" Type="http://schemas.openxmlformats.org/officeDocument/2006/relationships/image" Target="../media/image24.png"/><Relationship Id="rId9" Type="http://schemas.openxmlformats.org/officeDocument/2006/relationships/customXml" Target="../ink/ink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ustomXml" Target="../ink/ink13.xml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5" Type="http://schemas.openxmlformats.org/officeDocument/2006/relationships/customXml" Target="../ink/ink14.xml"/><Relationship Id="rId4" Type="http://schemas.openxmlformats.org/officeDocument/2006/relationships/image" Target="../media/image45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customXml" Target="../ink/ink20.xml"/><Relationship Id="rId3" Type="http://schemas.openxmlformats.org/officeDocument/2006/relationships/customXml" Target="../ink/ink15.xml"/><Relationship Id="rId7" Type="http://schemas.openxmlformats.org/officeDocument/2006/relationships/customXml" Target="../ink/ink17.xml"/><Relationship Id="rId12" Type="http://schemas.openxmlformats.org/officeDocument/2006/relationships/image" Target="../media/image52.png"/><Relationship Id="rId2" Type="http://schemas.openxmlformats.org/officeDocument/2006/relationships/image" Target="../media/image25.emf"/><Relationship Id="rId16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11" Type="http://schemas.openxmlformats.org/officeDocument/2006/relationships/customXml" Target="../ink/ink19.xml"/><Relationship Id="rId5" Type="http://schemas.openxmlformats.org/officeDocument/2006/relationships/customXml" Target="../ink/ink16.xml"/><Relationship Id="rId15" Type="http://schemas.openxmlformats.org/officeDocument/2006/relationships/customXml" Target="../ink/ink21.xml"/><Relationship Id="rId10" Type="http://schemas.openxmlformats.org/officeDocument/2006/relationships/image" Target="../media/image51.png"/><Relationship Id="rId4" Type="http://schemas.openxmlformats.org/officeDocument/2006/relationships/image" Target="../media/image48.png"/><Relationship Id="rId9" Type="http://schemas.openxmlformats.org/officeDocument/2006/relationships/customXml" Target="../ink/ink18.xml"/><Relationship Id="rId14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ustomXml" Target="../ink/ink22.xml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image" Target="../media/image9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685800" y="1524000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Organic Data </a:t>
            </a:r>
            <a:br>
              <a:rPr lang="en-US" dirty="0" smtClean="0"/>
            </a:br>
            <a:r>
              <a:rPr lang="en-US" dirty="0" smtClean="0"/>
              <a:t>and</a:t>
            </a:r>
            <a:br>
              <a:rPr lang="en-US" dirty="0" smtClean="0"/>
            </a:br>
            <a:r>
              <a:rPr lang="en-US" dirty="0" smtClean="0"/>
              <a:t>Economic Measurement</a:t>
            </a:r>
            <a:endParaRPr lang="en-US" b="1" dirty="0">
              <a:latin typeface="+mn-lt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/>
          <a:p>
            <a:r>
              <a:rPr lang="en-US" dirty="0" smtClean="0"/>
              <a:t>Roberto Rigobon</a:t>
            </a:r>
            <a:endParaRPr lang="en-US" dirty="0"/>
          </a:p>
          <a:p>
            <a:r>
              <a:rPr lang="en-US" dirty="0" smtClean="0"/>
              <a:t>MIT, CSAC, </a:t>
            </a:r>
            <a:r>
              <a:rPr lang="en-US" dirty="0" err="1" smtClean="0"/>
              <a:t>CNStat</a:t>
            </a:r>
            <a:r>
              <a:rPr lang="en-US" dirty="0" smtClean="0"/>
              <a:t>, N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84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</a:t>
            </a:r>
            <a:endParaRPr lang="en-US" dirty="0"/>
          </a:p>
        </p:txBody>
      </p:sp>
      <p:pic>
        <p:nvPicPr>
          <p:cNvPr id="5" name="Content Placeholder 4" descr="Screen Shot 2016-09-29 at 7.04.17 AM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082" b="-1008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535713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uro</a:t>
            </a:r>
            <a:endParaRPr lang="en-US" dirty="0"/>
          </a:p>
        </p:txBody>
      </p:sp>
      <p:pic>
        <p:nvPicPr>
          <p:cNvPr id="4" name="Content Placeholder 3" descr="Screen Shot 2016-09-29 at 7.03.08 AM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115" b="-1011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6406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gentina</a:t>
            </a:r>
            <a:endParaRPr lang="en-US" dirty="0"/>
          </a:p>
        </p:txBody>
      </p:sp>
      <p:pic>
        <p:nvPicPr>
          <p:cNvPr id="5" name="Content Placeholder 4" descr="Screen Shot 2016-09-29 at 7.01.55 AM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090" b="-1009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383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zil</a:t>
            </a:r>
            <a:endParaRPr lang="en-US" dirty="0"/>
          </a:p>
        </p:txBody>
      </p:sp>
      <p:pic>
        <p:nvPicPr>
          <p:cNvPr id="5" name="Content Placeholder 4" descr="Screen Shot 2016-09-29 at 7.02.28 AM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130" b="-1013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9056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Neatherlands</a:t>
            </a:r>
            <a:endParaRPr lang="en-US" dirty="0"/>
          </a:p>
        </p:txBody>
      </p:sp>
      <p:pic>
        <p:nvPicPr>
          <p:cNvPr id="5" name="Content Placeholder 4" descr="Screen Shot 2016-09-29 at 7.03.45 AM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9651" b="-965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49323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A: Anticipation</a:t>
            </a:r>
            <a:endParaRPr lang="en-US" dirty="0"/>
          </a:p>
        </p:txBody>
      </p:sp>
      <p:pic>
        <p:nvPicPr>
          <p:cNvPr id="4" name="Picture 3" descr="Screen Shot 2016-09-13 at 6.46.31 PM.png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600200"/>
            <a:ext cx="4114800" cy="4572000"/>
          </a:xfrm>
          <a:prstGeom prst="rect">
            <a:avLst/>
          </a:prstGeom>
        </p:spPr>
      </p:pic>
      <p:pic>
        <p:nvPicPr>
          <p:cNvPr id="5" name="Picture 4" descr="Screen Shot 2016-09-13 at 6.47.02 PM.png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3450" y="1600200"/>
            <a:ext cx="4114800" cy="4572000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2895600" y="3378720"/>
            <a:ext cx="965250" cy="1617120"/>
            <a:chOff x="4053245" y="3323924"/>
            <a:chExt cx="1287000" cy="16171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23" name="Ink 22"/>
                <p14:cNvContentPartPr/>
                <p14:nvPr/>
              </p14:nvContentPartPr>
              <p14:xfrm>
                <a:off x="4053245" y="3323924"/>
                <a:ext cx="887760" cy="804960"/>
              </p14:xfrm>
            </p:contentPart>
          </mc:Choice>
          <mc:Fallback xmlns="">
            <p:pic>
              <p:nvPicPr>
                <p:cNvPr id="23" name="Ink 22"/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4044965" y="3316004"/>
                  <a:ext cx="903960" cy="820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7">
              <p14:nvContentPartPr>
                <p14:cNvPr id="24" name="Ink 23"/>
                <p14:cNvContentPartPr/>
                <p14:nvPr/>
              </p14:nvContentPartPr>
              <p14:xfrm>
                <a:off x="4652645" y="3970124"/>
                <a:ext cx="687600" cy="970920"/>
              </p14:xfrm>
            </p:contentPart>
          </mc:Choice>
          <mc:Fallback xmlns="">
            <p:pic>
              <p:nvPicPr>
                <p:cNvPr id="24" name="Ink 23"/>
                <p:cNvPicPr/>
                <p:nvPr/>
              </p:nvPicPr>
              <p:blipFill>
                <a:blip r:embed="rId18"/>
                <a:stretch>
                  <a:fillRect/>
                </a:stretch>
              </p:blipFill>
              <p:spPr>
                <a:xfrm>
                  <a:off x="4644365" y="3962204"/>
                  <a:ext cx="703800" cy="98676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7" name="Group 6"/>
          <p:cNvGrpSpPr/>
          <p:nvPr/>
        </p:nvGrpSpPr>
        <p:grpSpPr>
          <a:xfrm>
            <a:off x="5925220" y="4165620"/>
            <a:ext cx="346680" cy="929717"/>
            <a:chOff x="7900293" y="4165615"/>
            <a:chExt cx="462240" cy="929717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19">
              <p14:nvContentPartPr>
                <p14:cNvPr id="29" name="Ink 28"/>
                <p14:cNvContentPartPr/>
                <p14:nvPr/>
              </p14:nvContentPartPr>
              <p14:xfrm>
                <a:off x="8022333" y="4778172"/>
                <a:ext cx="340200" cy="317160"/>
              </p14:xfrm>
            </p:contentPart>
          </mc:Choice>
          <mc:Fallback xmlns="">
            <p:pic>
              <p:nvPicPr>
                <p:cNvPr id="29" name="Ink 28"/>
                <p:cNvPicPr/>
                <p:nvPr/>
              </p:nvPicPr>
              <p:blipFill>
                <a:blip r:embed="rId22"/>
                <a:stretch>
                  <a:fillRect/>
                </a:stretch>
              </p:blipFill>
              <p:spPr>
                <a:xfrm>
                  <a:off x="8014413" y="4770252"/>
                  <a:ext cx="356400" cy="333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3">
              <p14:nvContentPartPr>
                <p14:cNvPr id="36" name="Ink 35"/>
                <p14:cNvContentPartPr/>
                <p14:nvPr/>
              </p14:nvContentPartPr>
              <p14:xfrm>
                <a:off x="7900293" y="4165615"/>
                <a:ext cx="291113" cy="329957"/>
              </p14:xfrm>
            </p:contentPart>
          </mc:Choice>
          <mc:Fallback xmlns="">
            <p:pic>
              <p:nvPicPr>
                <p:cNvPr id="36" name="Ink 35"/>
                <p:cNvPicPr/>
                <p:nvPr/>
              </p:nvPicPr>
              <p:blipFill>
                <a:blip r:embed="rId24"/>
                <a:stretch>
                  <a:fillRect/>
                </a:stretch>
              </p:blipFill>
              <p:spPr>
                <a:xfrm>
                  <a:off x="7892367" y="4157699"/>
                  <a:ext cx="307326" cy="34578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5">
              <p14:nvContentPartPr>
                <p14:cNvPr id="40" name="Ink 39"/>
                <p14:cNvContentPartPr/>
                <p14:nvPr/>
              </p14:nvContentPartPr>
              <p14:xfrm>
                <a:off x="8146046" y="4480328"/>
                <a:ext cx="112320" cy="237240"/>
              </p14:xfrm>
            </p:contentPart>
          </mc:Choice>
          <mc:Fallback xmlns="">
            <p:pic>
              <p:nvPicPr>
                <p:cNvPr id="40" name="Ink 39"/>
                <p:cNvPicPr/>
                <p:nvPr/>
              </p:nvPicPr>
              <p:blipFill>
                <a:blip r:embed="rId26"/>
                <a:stretch>
                  <a:fillRect/>
                </a:stretch>
              </p:blipFill>
              <p:spPr>
                <a:xfrm>
                  <a:off x="8138126" y="4472408"/>
                  <a:ext cx="128160" cy="253080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8" name="Group 7"/>
          <p:cNvGrpSpPr/>
          <p:nvPr/>
        </p:nvGrpSpPr>
        <p:grpSpPr>
          <a:xfrm>
            <a:off x="6657462" y="2496660"/>
            <a:ext cx="559615" cy="923957"/>
            <a:chOff x="8876613" y="2496655"/>
            <a:chExt cx="746153" cy="923957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27">
              <p14:nvContentPartPr>
                <p14:cNvPr id="41" name="Ink 40"/>
                <p14:cNvContentPartPr/>
                <p14:nvPr/>
              </p14:nvContentPartPr>
              <p14:xfrm>
                <a:off x="8876613" y="2496655"/>
                <a:ext cx="452033" cy="298277"/>
              </p14:xfrm>
            </p:contentPart>
          </mc:Choice>
          <mc:Fallback xmlns="">
            <p:pic>
              <p:nvPicPr>
                <p:cNvPr id="41" name="Ink 40"/>
                <p:cNvPicPr/>
                <p:nvPr/>
              </p:nvPicPr>
              <p:blipFill>
                <a:blip r:embed="rId28"/>
                <a:stretch>
                  <a:fillRect/>
                </a:stretch>
              </p:blipFill>
              <p:spPr>
                <a:xfrm>
                  <a:off x="8868689" y="2488739"/>
                  <a:ext cx="468241" cy="314468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29">
              <p14:nvContentPartPr>
                <p14:cNvPr id="42" name="Ink 41"/>
                <p14:cNvContentPartPr/>
                <p14:nvPr/>
              </p14:nvContentPartPr>
              <p14:xfrm>
                <a:off x="9187293" y="2793295"/>
                <a:ext cx="221993" cy="342557"/>
              </p14:xfrm>
            </p:contentPart>
          </mc:Choice>
          <mc:Fallback xmlns="">
            <p:pic>
              <p:nvPicPr>
                <p:cNvPr id="42" name="Ink 41"/>
                <p:cNvPicPr/>
                <p:nvPr/>
              </p:nvPicPr>
              <p:blipFill>
                <a:blip r:embed="rId30"/>
                <a:stretch>
                  <a:fillRect/>
                </a:stretch>
              </p:blipFill>
              <p:spPr>
                <a:xfrm>
                  <a:off x="9179365" y="2785379"/>
                  <a:ext cx="237850" cy="35838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31">
              <p14:nvContentPartPr>
                <p14:cNvPr id="43" name="Ink 42"/>
                <p14:cNvContentPartPr/>
                <p14:nvPr/>
              </p14:nvContentPartPr>
              <p14:xfrm>
                <a:off x="9224013" y="3194335"/>
                <a:ext cx="398753" cy="226277"/>
              </p14:xfrm>
            </p:contentPart>
          </mc:Choice>
          <mc:Fallback xmlns="">
            <p:pic>
              <p:nvPicPr>
                <p:cNvPr id="43" name="Ink 42"/>
                <p:cNvPicPr/>
                <p:nvPr/>
              </p:nvPicPr>
              <p:blipFill>
                <a:blip r:embed="rId32"/>
                <a:stretch>
                  <a:fillRect/>
                </a:stretch>
              </p:blipFill>
              <p:spPr>
                <a:xfrm>
                  <a:off x="9215728" y="3186421"/>
                  <a:ext cx="414602" cy="242106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417663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ert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ongruence</a:t>
            </a:r>
          </a:p>
          <a:p>
            <a:pPr lvl="1"/>
            <a:r>
              <a:rPr lang="en-US" dirty="0" smtClean="0"/>
              <a:t>Most countries the inflation rate online is similar to the inflation rate offline</a:t>
            </a:r>
          </a:p>
          <a:p>
            <a:r>
              <a:rPr lang="en-US" dirty="0" smtClean="0"/>
              <a:t>Anticipation</a:t>
            </a:r>
          </a:p>
          <a:p>
            <a:pPr lvl="1"/>
            <a:r>
              <a:rPr lang="en-US" dirty="0" smtClean="0"/>
              <a:t>Consumers have less memory</a:t>
            </a:r>
          </a:p>
          <a:p>
            <a:pPr lvl="1"/>
            <a:r>
              <a:rPr lang="en-US" dirty="0" smtClean="0"/>
              <a:t>Prices are easier to chang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8058150" y="5791200"/>
            <a:ext cx="1085850" cy="1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2400" y="5622758"/>
            <a:ext cx="1485900" cy="1530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52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US_Core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501" y="990600"/>
            <a:ext cx="6300788" cy="58674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re Inflation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42900" y="1752600"/>
            <a:ext cx="8458200" cy="4351338"/>
          </a:xfrm>
        </p:spPr>
        <p:txBody>
          <a:bodyPr>
            <a:normAutofit/>
          </a:bodyPr>
          <a:lstStyle/>
          <a:p>
            <a:r>
              <a:rPr lang="en-US" sz="2400" dirty="0" smtClean="0"/>
              <a:t>BLS: Direct Effect</a:t>
            </a:r>
          </a:p>
          <a:p>
            <a:r>
              <a:rPr lang="en-US" sz="2400" dirty="0" smtClean="0"/>
              <a:t>BPP: +Indirect Effect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338434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Real Exchange Rates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Thousand </a:t>
            </a:r>
            <a:r>
              <a:rPr lang="en-US" dirty="0" err="1" smtClean="0"/>
              <a:t>BigMac</a:t>
            </a:r>
            <a:r>
              <a:rPr lang="en-US" dirty="0" smtClean="0"/>
              <a:t> Index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573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he International Comparison Program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The International Comparison Program (ICP) is the world's largest statistical initiative. </a:t>
            </a:r>
          </a:p>
          <a:p>
            <a:pPr lvl="1"/>
            <a:r>
              <a:rPr lang="en-US" sz="1800" dirty="0"/>
              <a:t>Established in 1968</a:t>
            </a:r>
          </a:p>
          <a:p>
            <a:pPr lvl="1"/>
            <a:r>
              <a:rPr lang="en-US" sz="1800" dirty="0"/>
              <a:t>It is now the largest international data collection exercise involving five regions and 107 countries.</a:t>
            </a:r>
          </a:p>
          <a:p>
            <a:pPr lvl="1"/>
            <a:r>
              <a:rPr lang="en-US" sz="1800" dirty="0"/>
              <a:t>The results will be combined with the OECD/Eurostat PPP program for 43 countries, bringing the total to about 150 benchmark countries.</a:t>
            </a:r>
          </a:p>
          <a:p>
            <a:r>
              <a:rPr lang="en-US" sz="1800" dirty="0"/>
              <a:t>Measure disequilibrium two ways:</a:t>
            </a:r>
          </a:p>
          <a:p>
            <a:pPr lvl="1"/>
            <a:r>
              <a:rPr lang="en-US" sz="1800" dirty="0"/>
              <a:t>Compare the purchasing power across nations for similar goods or basket of goods</a:t>
            </a:r>
          </a:p>
          <a:p>
            <a:pPr lvl="1"/>
            <a:r>
              <a:rPr lang="en-US" sz="1800" dirty="0"/>
              <a:t>Compare the time series or international relative prices for similar goods or basket of goods</a:t>
            </a:r>
          </a:p>
          <a:p>
            <a:pPr marL="0" indent="0">
              <a:buNone/>
            </a:pPr>
            <a:endParaRPr lang="en-US" sz="400" dirty="0"/>
          </a:p>
          <a:p>
            <a:endParaRPr lang="en-US" sz="4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788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694730861"/>
              </p:ext>
            </p:extLst>
          </p:nvPr>
        </p:nvGraphicFramePr>
        <p:xfrm>
          <a:off x="379926" y="550274"/>
          <a:ext cx="8445208" cy="35965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985133" y="889000"/>
            <a:ext cx="30176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chemeClr val="bg1"/>
                </a:solidFill>
              </a:rPr>
              <a:t>Big Distance!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3142" y="5416925"/>
            <a:ext cx="2398960" cy="923330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The world is not lacking of Data</a:t>
            </a:r>
          </a:p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Arrow Connector 5"/>
          <p:cNvCxnSpPr>
            <a:stCxn id="5" idx="0"/>
          </p:cNvCxnSpPr>
          <p:nvPr/>
        </p:nvCxnSpPr>
        <p:spPr>
          <a:xfrm flipH="1" flipV="1">
            <a:off x="1522140" y="3645421"/>
            <a:ext cx="450482" cy="17715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8" name="TextBox 7"/>
          <p:cNvSpPr txBox="1"/>
          <p:nvPr/>
        </p:nvSpPr>
        <p:spPr>
          <a:xfrm>
            <a:off x="3448535" y="5416925"/>
            <a:ext cx="2398960" cy="923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Lacking of Careful Empirical Analysis</a:t>
            </a:r>
          </a:p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9" name="Straight Arrow Connector 8"/>
          <p:cNvCxnSpPr>
            <a:stCxn id="8" idx="0"/>
          </p:cNvCxnSpPr>
          <p:nvPr/>
        </p:nvCxnSpPr>
        <p:spPr>
          <a:xfrm flipH="1" flipV="1">
            <a:off x="4394969" y="3645421"/>
            <a:ext cx="253046" cy="17715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TextBox 9"/>
          <p:cNvSpPr txBox="1"/>
          <p:nvPr/>
        </p:nvSpPr>
        <p:spPr>
          <a:xfrm>
            <a:off x="6185569" y="5416925"/>
            <a:ext cx="2398960" cy="9233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Lacking of Managerial Data Analysis</a:t>
            </a:r>
          </a:p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1" name="Straight Arrow Connector 10"/>
          <p:cNvCxnSpPr>
            <a:stCxn id="10" idx="0"/>
          </p:cNvCxnSpPr>
          <p:nvPr/>
        </p:nvCxnSpPr>
        <p:spPr>
          <a:xfrm flipV="1">
            <a:off x="7385049" y="3645421"/>
            <a:ext cx="217058" cy="177150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11996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10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Thousands Big Mac’s Project</a:t>
            </a:r>
            <a:endParaRPr lang="en-US" dirty="0"/>
          </a:p>
        </p:txBody>
      </p:sp>
      <p:sp>
        <p:nvSpPr>
          <p:cNvPr id="3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10400" y="6477006"/>
            <a:ext cx="2133600" cy="365125"/>
          </a:xfrm>
          <a:prstGeom prst="rect">
            <a:avLst/>
          </a:prstGeom>
        </p:spPr>
        <p:txBody>
          <a:bodyPr/>
          <a:lstStyle/>
          <a:p>
            <a:fld id="{25BA54BD-C84D-46CE-8B72-31BFB26ABA43}" type="slidenum">
              <a:rPr lang="en-US" smtClean="0"/>
              <a:t>20</a:t>
            </a:fld>
            <a:endParaRPr lang="en-US" dirty="0"/>
          </a:p>
        </p:txBody>
      </p:sp>
      <p:sp>
        <p:nvSpPr>
          <p:cNvPr id="3" name="AutoShap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66801" y="4447387"/>
            <a:ext cx="3143942" cy="497507"/>
          </a:xfrm>
          <a:prstGeom prst="roundRect">
            <a:avLst>
              <a:gd name="adj" fmla="val 16667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square" lIns="90000" tIns="46800" rIns="90000" bIns="46800" anchor="ctr">
            <a:noAutofit/>
          </a:bodyPr>
          <a:lstStyle/>
          <a:p>
            <a:pPr algn="ctr"/>
            <a:r>
              <a:rPr lang="en-US" sz="1400" dirty="0" smtClean="0"/>
              <a:t>Compare prices for a bottle of Coke across countries</a:t>
            </a:r>
            <a:endParaRPr lang="en-US" sz="1400" dirty="0"/>
          </a:p>
        </p:txBody>
      </p:sp>
      <p:sp>
        <p:nvSpPr>
          <p:cNvPr id="5" name="AutoShap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3853757" y="3582381"/>
            <a:ext cx="3175000" cy="317500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endParaRPr lang="en-US"/>
          </a:p>
        </p:txBody>
      </p:sp>
      <p:sp>
        <p:nvSpPr>
          <p:cNvPr id="7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5650890" y="1828806"/>
            <a:ext cx="3416921" cy="4338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73038" indent="-173038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 dirty="0" smtClean="0"/>
              <a:t>Online prices represent an effective tool to measure PPP fluctuations</a:t>
            </a:r>
            <a:endParaRPr lang="en-US" sz="1300" i="0" dirty="0" smtClean="0"/>
          </a:p>
          <a:p>
            <a:pPr marL="520700" lvl="1" indent="-174625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en-US" sz="1300" dirty="0" smtClean="0"/>
              <a:t>Identical items sold around the world</a:t>
            </a:r>
          </a:p>
          <a:p>
            <a:pPr marL="520700" lvl="1" indent="-174625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en-US" sz="1300" dirty="0" smtClean="0"/>
              <a:t>Detailed descriptions to achieve a nearly perfect matching</a:t>
            </a:r>
          </a:p>
          <a:p>
            <a:pPr marL="520700" lvl="1" indent="-174625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en-US" sz="1300" dirty="0" smtClean="0"/>
              <a:t>Daily Prices</a:t>
            </a:r>
            <a:endParaRPr lang="en-US" sz="1300" i="0" dirty="0" smtClean="0"/>
          </a:p>
          <a:p>
            <a:pPr marL="173038" indent="-173038"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300" i="0" dirty="0" smtClean="0"/>
              <a:t>PPP indices:</a:t>
            </a:r>
          </a:p>
          <a:p>
            <a:pPr marL="520700" lvl="1" indent="-174625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en-US" sz="1300" dirty="0" smtClean="0"/>
              <a:t>More than 300 narrow product categories</a:t>
            </a:r>
          </a:p>
          <a:p>
            <a:pPr marL="520700" lvl="1" indent="-174625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en-US" sz="1300" dirty="0" smtClean="0"/>
              <a:t>With thousands individually matched items </a:t>
            </a:r>
          </a:p>
          <a:p>
            <a:pPr marL="520700" lvl="1" indent="-174625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en-US" sz="1300" dirty="0" smtClean="0"/>
              <a:t>In food, fuel, </a:t>
            </a:r>
            <a:r>
              <a:rPr lang="en-US" sz="1300" dirty="0"/>
              <a:t>and </a:t>
            </a:r>
            <a:r>
              <a:rPr lang="en-US" sz="1300" dirty="0" smtClean="0"/>
              <a:t>electronics: we are missing clothing, personal care, household products.</a:t>
            </a:r>
          </a:p>
          <a:p>
            <a:pPr marL="520700" lvl="1" indent="-174625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en-US" sz="1300" dirty="0" smtClean="0"/>
              <a:t>Cars we will never match</a:t>
            </a:r>
          </a:p>
        </p:txBody>
      </p:sp>
      <p:sp>
        <p:nvSpPr>
          <p:cNvPr id="8" name="Freeform 8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76203" y="2043935"/>
            <a:ext cx="4833937" cy="2176463"/>
          </a:xfrm>
          <a:custGeom>
            <a:avLst/>
            <a:gdLst>
              <a:gd name="T0" fmla="*/ 4138999 w 14677"/>
              <a:gd name="T1" fmla="*/ 1370208 h 7159"/>
              <a:gd name="T2" fmla="*/ 4154808 w 14677"/>
              <a:gd name="T3" fmla="*/ 1094159 h 7159"/>
              <a:gd name="T4" fmla="*/ 4266789 w 14677"/>
              <a:gd name="T5" fmla="*/ 1333725 h 7159"/>
              <a:gd name="T6" fmla="*/ 4732825 w 14677"/>
              <a:gd name="T7" fmla="*/ 1441956 h 7159"/>
              <a:gd name="T8" fmla="*/ 3818866 w 14677"/>
              <a:gd name="T9" fmla="*/ 1253465 h 7159"/>
              <a:gd name="T10" fmla="*/ 4319485 w 14677"/>
              <a:gd name="T11" fmla="*/ 1472965 h 7159"/>
              <a:gd name="T12" fmla="*/ 4220020 w 14677"/>
              <a:gd name="T13" fmla="*/ 1800088 h 7159"/>
              <a:gd name="T14" fmla="*/ 4547728 w 14677"/>
              <a:gd name="T15" fmla="*/ 1429491 h 7159"/>
              <a:gd name="T16" fmla="*/ 4678152 w 14677"/>
              <a:gd name="T17" fmla="*/ 1985539 h 7159"/>
              <a:gd name="T18" fmla="*/ 2166824 w 14677"/>
              <a:gd name="T19" fmla="*/ 397655 h 7159"/>
              <a:gd name="T20" fmla="*/ 2396713 w 14677"/>
              <a:gd name="T21" fmla="*/ 47427 h 7159"/>
              <a:gd name="T22" fmla="*/ 2228413 w 14677"/>
              <a:gd name="T23" fmla="*/ 343236 h 7159"/>
              <a:gd name="T24" fmla="*/ 2855175 w 14677"/>
              <a:gd name="T25" fmla="*/ 107622 h 7159"/>
              <a:gd name="T26" fmla="*/ 2278804 w 14677"/>
              <a:gd name="T27" fmla="*/ 632661 h 7159"/>
              <a:gd name="T28" fmla="*/ 1054264 w 14677"/>
              <a:gd name="T29" fmla="*/ 79045 h 7159"/>
              <a:gd name="T30" fmla="*/ 1290411 w 14677"/>
              <a:gd name="T31" fmla="*/ 80869 h 7159"/>
              <a:gd name="T32" fmla="*/ 1219929 w 14677"/>
              <a:gd name="T33" fmla="*/ 976505 h 7159"/>
              <a:gd name="T34" fmla="*/ 1484072 w 14677"/>
              <a:gd name="T35" fmla="*/ 175418 h 7159"/>
              <a:gd name="T36" fmla="*/ 1475179 w 14677"/>
              <a:gd name="T37" fmla="*/ 258111 h 7159"/>
              <a:gd name="T38" fmla="*/ 1625365 w 14677"/>
              <a:gd name="T39" fmla="*/ 8512 h 7159"/>
              <a:gd name="T40" fmla="*/ 2052208 w 14677"/>
              <a:gd name="T41" fmla="*/ 98198 h 7159"/>
              <a:gd name="T42" fmla="*/ 1630964 w 14677"/>
              <a:gd name="T43" fmla="*/ 82997 h 7159"/>
              <a:gd name="T44" fmla="*/ 1725159 w 14677"/>
              <a:gd name="T45" fmla="*/ 293073 h 7159"/>
              <a:gd name="T46" fmla="*/ 537836 w 14677"/>
              <a:gd name="T47" fmla="*/ 345060 h 7159"/>
              <a:gd name="T48" fmla="*/ 1239361 w 14677"/>
              <a:gd name="T49" fmla="*/ 2110490 h 7159"/>
              <a:gd name="T50" fmla="*/ 1515361 w 14677"/>
              <a:gd name="T51" fmla="*/ 1299067 h 7159"/>
              <a:gd name="T52" fmla="*/ 922852 w 14677"/>
              <a:gd name="T53" fmla="*/ 1098720 h 7159"/>
              <a:gd name="T54" fmla="*/ 980159 w 14677"/>
              <a:gd name="T55" fmla="*/ 836352 h 7159"/>
              <a:gd name="T56" fmla="*/ 1350683 w 14677"/>
              <a:gd name="T57" fmla="*/ 527471 h 7159"/>
              <a:gd name="T58" fmla="*/ 1301609 w 14677"/>
              <a:gd name="T59" fmla="*/ 283952 h 7159"/>
              <a:gd name="T60" fmla="*/ 1166574 w 14677"/>
              <a:gd name="T61" fmla="*/ 190011 h 7159"/>
              <a:gd name="T62" fmla="*/ 303006 w 14677"/>
              <a:gd name="T63" fmla="*/ 255679 h 7159"/>
              <a:gd name="T64" fmla="*/ 524991 w 14677"/>
              <a:gd name="T65" fmla="*/ 329859 h 7159"/>
              <a:gd name="T66" fmla="*/ 499631 w 14677"/>
              <a:gd name="T67" fmla="*/ 821456 h 7159"/>
              <a:gd name="T68" fmla="*/ 1015730 w 14677"/>
              <a:gd name="T69" fmla="*/ 1215158 h 7159"/>
              <a:gd name="T70" fmla="*/ 1195228 w 14677"/>
              <a:gd name="T71" fmla="*/ 2039046 h 7159"/>
              <a:gd name="T72" fmla="*/ 1394817 w 14677"/>
              <a:gd name="T73" fmla="*/ 1891598 h 7159"/>
              <a:gd name="T74" fmla="*/ 997615 w 14677"/>
              <a:gd name="T75" fmla="*/ 561216 h 7159"/>
              <a:gd name="T76" fmla="*/ 943272 w 14677"/>
              <a:gd name="T77" fmla="*/ 400087 h 7159"/>
              <a:gd name="T78" fmla="*/ 1186665 w 14677"/>
              <a:gd name="T79" fmla="*/ 1999524 h 7159"/>
              <a:gd name="T80" fmla="*/ 3120306 w 14677"/>
              <a:gd name="T81" fmla="*/ 128599 h 7159"/>
              <a:gd name="T82" fmla="*/ 2617051 w 14677"/>
              <a:gd name="T83" fmla="*/ 643605 h 7159"/>
              <a:gd name="T84" fmla="*/ 4234182 w 14677"/>
              <a:gd name="T85" fmla="*/ 523518 h 7159"/>
              <a:gd name="T86" fmla="*/ 3915697 w 14677"/>
              <a:gd name="T87" fmla="*/ 1056765 h 7159"/>
              <a:gd name="T88" fmla="*/ 4046780 w 14677"/>
              <a:gd name="T89" fmla="*/ 644821 h 7159"/>
              <a:gd name="T90" fmla="*/ 4188732 w 14677"/>
              <a:gd name="T91" fmla="*/ 288513 h 7159"/>
              <a:gd name="T92" fmla="*/ 4288197 w 14677"/>
              <a:gd name="T93" fmla="*/ 172986 h 7159"/>
              <a:gd name="T94" fmla="*/ 3414090 w 14677"/>
              <a:gd name="T95" fmla="*/ 126775 h 7159"/>
              <a:gd name="T96" fmla="*/ 3040931 w 14677"/>
              <a:gd name="T97" fmla="*/ 185451 h 7159"/>
              <a:gd name="T98" fmla="*/ 2464890 w 14677"/>
              <a:gd name="T99" fmla="*/ 179978 h 7159"/>
              <a:gd name="T100" fmla="*/ 2462584 w 14677"/>
              <a:gd name="T101" fmla="*/ 343540 h 7159"/>
              <a:gd name="T102" fmla="*/ 2354226 w 14677"/>
              <a:gd name="T103" fmla="*/ 374550 h 7159"/>
              <a:gd name="T104" fmla="*/ 2329196 w 14677"/>
              <a:gd name="T105" fmla="*/ 571249 h 7159"/>
              <a:gd name="T106" fmla="*/ 2677323 w 14677"/>
              <a:gd name="T107" fmla="*/ 680392 h 7159"/>
              <a:gd name="T108" fmla="*/ 1998524 w 14677"/>
              <a:gd name="T109" fmla="*/ 859762 h 7159"/>
              <a:gd name="T110" fmla="*/ 2375305 w 14677"/>
              <a:gd name="T111" fmla="*/ 1230663 h 7159"/>
              <a:gd name="T112" fmla="*/ 2852211 w 14677"/>
              <a:gd name="T113" fmla="*/ 1525865 h 7159"/>
              <a:gd name="T114" fmla="*/ 2885147 w 14677"/>
              <a:gd name="T115" fmla="*/ 1007514 h 7159"/>
              <a:gd name="T116" fmla="*/ 3353489 w 14677"/>
              <a:gd name="T117" fmla="*/ 998394 h 7159"/>
              <a:gd name="T118" fmla="*/ 2761968 w 14677"/>
              <a:gd name="T119" fmla="*/ 1450468 h 7159"/>
              <a:gd name="T120" fmla="*/ 2759992 w 14677"/>
              <a:gd name="T121" fmla="*/ 536287 h 7159"/>
              <a:gd name="T122" fmla="*/ 2987246 w 14677"/>
              <a:gd name="T123" fmla="*/ 545104 h 7159"/>
              <a:gd name="T124" fmla="*/ 3680867 w 14677"/>
              <a:gd name="T125" fmla="*/ 404647 h 71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4677"/>
              <a:gd name="T190" fmla="*/ 0 h 7159"/>
              <a:gd name="T191" fmla="*/ 14677 w 14677"/>
              <a:gd name="T192" fmla="*/ 7159 h 7159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4677" h="7159">
                <a:moveTo>
                  <a:pt x="12864" y="4079"/>
                </a:moveTo>
                <a:cubicBezTo>
                  <a:pt x="12879" y="4067"/>
                  <a:pt x="12873" y="4060"/>
                  <a:pt x="12860" y="4056"/>
                </a:cubicBezTo>
                <a:cubicBezTo>
                  <a:pt x="12847" y="4052"/>
                  <a:pt x="12841" y="4057"/>
                  <a:pt x="12841" y="4057"/>
                </a:cubicBezTo>
                <a:cubicBezTo>
                  <a:pt x="12841" y="4057"/>
                  <a:pt x="12856" y="4087"/>
                  <a:pt x="12864" y="4079"/>
                </a:cubicBezTo>
                <a:close/>
                <a:moveTo>
                  <a:pt x="12798" y="4178"/>
                </a:moveTo>
                <a:cubicBezTo>
                  <a:pt x="12801" y="4187"/>
                  <a:pt x="12790" y="4195"/>
                  <a:pt x="12798" y="4203"/>
                </a:cubicBezTo>
                <a:cubicBezTo>
                  <a:pt x="12807" y="4210"/>
                  <a:pt x="12845" y="4244"/>
                  <a:pt x="12854" y="4241"/>
                </a:cubicBezTo>
                <a:cubicBezTo>
                  <a:pt x="12863" y="4238"/>
                  <a:pt x="12853" y="4225"/>
                  <a:pt x="12842" y="4219"/>
                </a:cubicBezTo>
                <a:cubicBezTo>
                  <a:pt x="12832" y="4213"/>
                  <a:pt x="12826" y="4201"/>
                  <a:pt x="12836" y="4191"/>
                </a:cubicBezTo>
                <a:cubicBezTo>
                  <a:pt x="12847" y="4181"/>
                  <a:pt x="12866" y="4191"/>
                  <a:pt x="12866" y="4191"/>
                </a:cubicBezTo>
                <a:cubicBezTo>
                  <a:pt x="12875" y="4184"/>
                  <a:pt x="12875" y="4184"/>
                  <a:pt x="12875" y="4184"/>
                </a:cubicBezTo>
                <a:cubicBezTo>
                  <a:pt x="12858" y="4173"/>
                  <a:pt x="12858" y="4173"/>
                  <a:pt x="12858" y="4173"/>
                </a:cubicBezTo>
                <a:cubicBezTo>
                  <a:pt x="12858" y="4173"/>
                  <a:pt x="12872" y="4166"/>
                  <a:pt x="12875" y="4154"/>
                </a:cubicBezTo>
                <a:cubicBezTo>
                  <a:pt x="12878" y="4143"/>
                  <a:pt x="12863" y="4135"/>
                  <a:pt x="12853" y="4134"/>
                </a:cubicBezTo>
                <a:cubicBezTo>
                  <a:pt x="12842" y="4132"/>
                  <a:pt x="12832" y="4159"/>
                  <a:pt x="12820" y="4160"/>
                </a:cubicBezTo>
                <a:cubicBezTo>
                  <a:pt x="12809" y="4162"/>
                  <a:pt x="12812" y="4135"/>
                  <a:pt x="12812" y="4135"/>
                </a:cubicBezTo>
                <a:cubicBezTo>
                  <a:pt x="12812" y="4135"/>
                  <a:pt x="12822" y="4122"/>
                  <a:pt x="12825" y="4112"/>
                </a:cubicBezTo>
                <a:cubicBezTo>
                  <a:pt x="12828" y="4101"/>
                  <a:pt x="12822" y="4096"/>
                  <a:pt x="12822" y="4096"/>
                </a:cubicBezTo>
                <a:cubicBezTo>
                  <a:pt x="12831" y="4069"/>
                  <a:pt x="12831" y="4069"/>
                  <a:pt x="12831" y="4069"/>
                </a:cubicBezTo>
                <a:cubicBezTo>
                  <a:pt x="12803" y="4096"/>
                  <a:pt x="12803" y="4096"/>
                  <a:pt x="12803" y="4096"/>
                </a:cubicBezTo>
                <a:cubicBezTo>
                  <a:pt x="12803" y="4115"/>
                  <a:pt x="12803" y="4115"/>
                  <a:pt x="12803" y="4115"/>
                </a:cubicBezTo>
                <a:cubicBezTo>
                  <a:pt x="12803" y="4115"/>
                  <a:pt x="12780" y="4125"/>
                  <a:pt x="12782" y="4150"/>
                </a:cubicBezTo>
                <a:cubicBezTo>
                  <a:pt x="12784" y="4166"/>
                  <a:pt x="12795" y="4169"/>
                  <a:pt x="12798" y="4178"/>
                </a:cubicBezTo>
                <a:close/>
                <a:moveTo>
                  <a:pt x="12824" y="4278"/>
                </a:moveTo>
                <a:cubicBezTo>
                  <a:pt x="12816" y="4268"/>
                  <a:pt x="12797" y="4255"/>
                  <a:pt x="12797" y="4255"/>
                </a:cubicBezTo>
                <a:cubicBezTo>
                  <a:pt x="12795" y="4285"/>
                  <a:pt x="12795" y="4285"/>
                  <a:pt x="12795" y="4285"/>
                </a:cubicBezTo>
                <a:cubicBezTo>
                  <a:pt x="12807" y="4293"/>
                  <a:pt x="12833" y="4289"/>
                  <a:pt x="12824" y="4278"/>
                </a:cubicBezTo>
                <a:close/>
                <a:moveTo>
                  <a:pt x="12907" y="4323"/>
                </a:moveTo>
                <a:cubicBezTo>
                  <a:pt x="12929" y="4314"/>
                  <a:pt x="12927" y="4298"/>
                  <a:pt x="12927" y="4298"/>
                </a:cubicBezTo>
                <a:cubicBezTo>
                  <a:pt x="12882" y="4297"/>
                  <a:pt x="12882" y="4297"/>
                  <a:pt x="12882" y="4297"/>
                </a:cubicBezTo>
                <a:cubicBezTo>
                  <a:pt x="12882" y="4297"/>
                  <a:pt x="12885" y="4332"/>
                  <a:pt x="12907" y="4323"/>
                </a:cubicBezTo>
                <a:close/>
                <a:moveTo>
                  <a:pt x="12597" y="4755"/>
                </a:moveTo>
                <a:cubicBezTo>
                  <a:pt x="12608" y="4764"/>
                  <a:pt x="12648" y="4727"/>
                  <a:pt x="12663" y="4713"/>
                </a:cubicBezTo>
                <a:cubicBezTo>
                  <a:pt x="12666" y="4710"/>
                  <a:pt x="12668" y="4708"/>
                  <a:pt x="12668" y="4708"/>
                </a:cubicBezTo>
                <a:cubicBezTo>
                  <a:pt x="12678" y="4705"/>
                  <a:pt x="12678" y="4705"/>
                  <a:pt x="12678" y="4705"/>
                </a:cubicBezTo>
                <a:cubicBezTo>
                  <a:pt x="12700" y="4689"/>
                  <a:pt x="12700" y="4689"/>
                  <a:pt x="12700" y="4689"/>
                </a:cubicBezTo>
                <a:cubicBezTo>
                  <a:pt x="12700" y="4689"/>
                  <a:pt x="12709" y="4698"/>
                  <a:pt x="12722" y="4695"/>
                </a:cubicBezTo>
                <a:cubicBezTo>
                  <a:pt x="12735" y="4692"/>
                  <a:pt x="12779" y="4645"/>
                  <a:pt x="12779" y="4645"/>
                </a:cubicBezTo>
                <a:cubicBezTo>
                  <a:pt x="12763" y="4636"/>
                  <a:pt x="12763" y="4636"/>
                  <a:pt x="12763" y="4636"/>
                </a:cubicBezTo>
                <a:cubicBezTo>
                  <a:pt x="12750" y="4650"/>
                  <a:pt x="12750" y="4650"/>
                  <a:pt x="12750" y="4650"/>
                </a:cubicBezTo>
                <a:cubicBezTo>
                  <a:pt x="12750" y="4650"/>
                  <a:pt x="12707" y="4651"/>
                  <a:pt x="12695" y="4651"/>
                </a:cubicBezTo>
                <a:cubicBezTo>
                  <a:pt x="12684" y="4651"/>
                  <a:pt x="12678" y="4669"/>
                  <a:pt x="12678" y="4669"/>
                </a:cubicBezTo>
                <a:cubicBezTo>
                  <a:pt x="12678" y="4669"/>
                  <a:pt x="12672" y="4668"/>
                  <a:pt x="12664" y="4669"/>
                </a:cubicBezTo>
                <a:cubicBezTo>
                  <a:pt x="12664" y="4669"/>
                  <a:pt x="12664" y="4669"/>
                  <a:pt x="12664" y="4669"/>
                </a:cubicBezTo>
                <a:cubicBezTo>
                  <a:pt x="12659" y="4670"/>
                  <a:pt x="12652" y="4671"/>
                  <a:pt x="12647" y="4675"/>
                </a:cubicBezTo>
                <a:cubicBezTo>
                  <a:pt x="12643" y="4677"/>
                  <a:pt x="12640" y="4681"/>
                  <a:pt x="12639" y="4684"/>
                </a:cubicBezTo>
                <a:cubicBezTo>
                  <a:pt x="12639" y="4684"/>
                  <a:pt x="12639" y="4684"/>
                  <a:pt x="12639" y="4684"/>
                </a:cubicBezTo>
                <a:cubicBezTo>
                  <a:pt x="12622" y="4683"/>
                  <a:pt x="12622" y="4683"/>
                  <a:pt x="12622" y="4683"/>
                </a:cubicBezTo>
                <a:cubicBezTo>
                  <a:pt x="12611" y="4694"/>
                  <a:pt x="12611" y="4694"/>
                  <a:pt x="12611" y="4694"/>
                </a:cubicBezTo>
                <a:cubicBezTo>
                  <a:pt x="12615" y="4703"/>
                  <a:pt x="12615" y="4703"/>
                  <a:pt x="12615" y="4703"/>
                </a:cubicBezTo>
                <a:cubicBezTo>
                  <a:pt x="12614" y="4703"/>
                  <a:pt x="12613" y="4704"/>
                  <a:pt x="12612" y="4705"/>
                </a:cubicBezTo>
                <a:cubicBezTo>
                  <a:pt x="12600" y="4717"/>
                  <a:pt x="12577" y="4740"/>
                  <a:pt x="12597" y="4755"/>
                </a:cubicBezTo>
                <a:close/>
                <a:moveTo>
                  <a:pt x="12470" y="4507"/>
                </a:moveTo>
                <a:cubicBezTo>
                  <a:pt x="12451" y="4541"/>
                  <a:pt x="12451" y="4541"/>
                  <a:pt x="12451" y="4541"/>
                </a:cubicBezTo>
                <a:cubicBezTo>
                  <a:pt x="12465" y="4540"/>
                  <a:pt x="12465" y="4540"/>
                  <a:pt x="12465" y="4540"/>
                </a:cubicBezTo>
                <a:cubicBezTo>
                  <a:pt x="12473" y="4522"/>
                  <a:pt x="12473" y="4522"/>
                  <a:pt x="12473" y="4522"/>
                </a:cubicBezTo>
                <a:lnTo>
                  <a:pt x="12470" y="4507"/>
                </a:lnTo>
                <a:close/>
                <a:moveTo>
                  <a:pt x="12469" y="4666"/>
                </a:moveTo>
                <a:cubicBezTo>
                  <a:pt x="12531" y="4665"/>
                  <a:pt x="12531" y="4665"/>
                  <a:pt x="12531" y="4665"/>
                </a:cubicBezTo>
                <a:cubicBezTo>
                  <a:pt x="12563" y="4660"/>
                  <a:pt x="12563" y="4660"/>
                  <a:pt x="12563" y="4660"/>
                </a:cubicBezTo>
                <a:cubicBezTo>
                  <a:pt x="12589" y="4637"/>
                  <a:pt x="12589" y="4637"/>
                  <a:pt x="12589" y="4637"/>
                </a:cubicBezTo>
                <a:cubicBezTo>
                  <a:pt x="12588" y="4627"/>
                  <a:pt x="12588" y="4627"/>
                  <a:pt x="12588" y="4627"/>
                </a:cubicBezTo>
                <a:cubicBezTo>
                  <a:pt x="12567" y="4636"/>
                  <a:pt x="12567" y="4636"/>
                  <a:pt x="12567" y="4636"/>
                </a:cubicBezTo>
                <a:cubicBezTo>
                  <a:pt x="12548" y="4652"/>
                  <a:pt x="12548" y="4652"/>
                  <a:pt x="12548" y="4652"/>
                </a:cubicBezTo>
                <a:cubicBezTo>
                  <a:pt x="12548" y="4652"/>
                  <a:pt x="12537" y="4640"/>
                  <a:pt x="12526" y="4641"/>
                </a:cubicBezTo>
                <a:cubicBezTo>
                  <a:pt x="12516" y="4643"/>
                  <a:pt x="12504" y="4656"/>
                  <a:pt x="12504" y="4656"/>
                </a:cubicBezTo>
                <a:cubicBezTo>
                  <a:pt x="12504" y="4656"/>
                  <a:pt x="12494" y="4630"/>
                  <a:pt x="12476" y="4633"/>
                </a:cubicBezTo>
                <a:cubicBezTo>
                  <a:pt x="12459" y="4636"/>
                  <a:pt x="12437" y="4662"/>
                  <a:pt x="12437" y="4662"/>
                </a:cubicBezTo>
                <a:cubicBezTo>
                  <a:pt x="12413" y="4660"/>
                  <a:pt x="12413" y="4660"/>
                  <a:pt x="12413" y="4660"/>
                </a:cubicBezTo>
                <a:cubicBezTo>
                  <a:pt x="12406" y="4672"/>
                  <a:pt x="12406" y="4672"/>
                  <a:pt x="12406" y="4672"/>
                </a:cubicBezTo>
                <a:cubicBezTo>
                  <a:pt x="12422" y="4669"/>
                  <a:pt x="12422" y="4669"/>
                  <a:pt x="12422" y="4669"/>
                </a:cubicBezTo>
                <a:cubicBezTo>
                  <a:pt x="12422" y="4669"/>
                  <a:pt x="12434" y="4675"/>
                  <a:pt x="12446" y="4680"/>
                </a:cubicBezTo>
                <a:cubicBezTo>
                  <a:pt x="12457" y="4684"/>
                  <a:pt x="12469" y="4666"/>
                  <a:pt x="12469" y="4666"/>
                </a:cubicBezTo>
                <a:close/>
                <a:moveTo>
                  <a:pt x="12599" y="4459"/>
                </a:moveTo>
                <a:cubicBezTo>
                  <a:pt x="12600" y="4443"/>
                  <a:pt x="12596" y="4431"/>
                  <a:pt x="12596" y="4431"/>
                </a:cubicBezTo>
                <a:cubicBezTo>
                  <a:pt x="12596" y="4431"/>
                  <a:pt x="12556" y="4399"/>
                  <a:pt x="12558" y="4387"/>
                </a:cubicBezTo>
                <a:cubicBezTo>
                  <a:pt x="12560" y="4375"/>
                  <a:pt x="12579" y="4362"/>
                  <a:pt x="12568" y="4352"/>
                </a:cubicBezTo>
                <a:cubicBezTo>
                  <a:pt x="12556" y="4342"/>
                  <a:pt x="12547" y="4339"/>
                  <a:pt x="12546" y="4331"/>
                </a:cubicBezTo>
                <a:cubicBezTo>
                  <a:pt x="12546" y="4322"/>
                  <a:pt x="12559" y="4303"/>
                  <a:pt x="12545" y="4297"/>
                </a:cubicBezTo>
                <a:cubicBezTo>
                  <a:pt x="12532" y="4292"/>
                  <a:pt x="12512" y="4275"/>
                  <a:pt x="12512" y="4275"/>
                </a:cubicBezTo>
                <a:cubicBezTo>
                  <a:pt x="12512" y="4275"/>
                  <a:pt x="12534" y="4280"/>
                  <a:pt x="12544" y="4270"/>
                </a:cubicBezTo>
                <a:cubicBezTo>
                  <a:pt x="12553" y="4261"/>
                  <a:pt x="12563" y="4239"/>
                  <a:pt x="12563" y="4239"/>
                </a:cubicBezTo>
                <a:cubicBezTo>
                  <a:pt x="12563" y="4239"/>
                  <a:pt x="12602" y="4241"/>
                  <a:pt x="12603" y="4233"/>
                </a:cubicBezTo>
                <a:cubicBezTo>
                  <a:pt x="12604" y="4224"/>
                  <a:pt x="12593" y="4209"/>
                  <a:pt x="12583" y="4208"/>
                </a:cubicBezTo>
                <a:cubicBezTo>
                  <a:pt x="12572" y="4208"/>
                  <a:pt x="12565" y="4226"/>
                  <a:pt x="12565" y="4226"/>
                </a:cubicBezTo>
                <a:cubicBezTo>
                  <a:pt x="12565" y="4226"/>
                  <a:pt x="12536" y="4218"/>
                  <a:pt x="12524" y="4222"/>
                </a:cubicBezTo>
                <a:cubicBezTo>
                  <a:pt x="12513" y="4225"/>
                  <a:pt x="12507" y="4254"/>
                  <a:pt x="12495" y="4255"/>
                </a:cubicBezTo>
                <a:cubicBezTo>
                  <a:pt x="12484" y="4255"/>
                  <a:pt x="12485" y="4235"/>
                  <a:pt x="12468" y="4225"/>
                </a:cubicBezTo>
                <a:cubicBezTo>
                  <a:pt x="12451" y="4215"/>
                  <a:pt x="12443" y="4218"/>
                  <a:pt x="12443" y="4218"/>
                </a:cubicBezTo>
                <a:cubicBezTo>
                  <a:pt x="12443" y="4218"/>
                  <a:pt x="12448" y="4159"/>
                  <a:pt x="12464" y="4158"/>
                </a:cubicBezTo>
                <a:cubicBezTo>
                  <a:pt x="12480" y="4157"/>
                  <a:pt x="12510" y="4168"/>
                  <a:pt x="12524" y="4164"/>
                </a:cubicBezTo>
                <a:cubicBezTo>
                  <a:pt x="12537" y="4161"/>
                  <a:pt x="12528" y="4149"/>
                  <a:pt x="12539" y="4151"/>
                </a:cubicBezTo>
                <a:cubicBezTo>
                  <a:pt x="12551" y="4152"/>
                  <a:pt x="12604" y="4178"/>
                  <a:pt x="12614" y="4179"/>
                </a:cubicBezTo>
                <a:cubicBezTo>
                  <a:pt x="12625" y="4179"/>
                  <a:pt x="12627" y="4170"/>
                  <a:pt x="12634" y="4166"/>
                </a:cubicBezTo>
                <a:cubicBezTo>
                  <a:pt x="12641" y="4162"/>
                  <a:pt x="12654" y="4168"/>
                  <a:pt x="12663" y="4163"/>
                </a:cubicBezTo>
                <a:cubicBezTo>
                  <a:pt x="12672" y="4157"/>
                  <a:pt x="12661" y="4152"/>
                  <a:pt x="12670" y="4143"/>
                </a:cubicBezTo>
                <a:cubicBezTo>
                  <a:pt x="12678" y="4134"/>
                  <a:pt x="12698" y="4125"/>
                  <a:pt x="12698" y="4125"/>
                </a:cubicBezTo>
                <a:cubicBezTo>
                  <a:pt x="12691" y="4105"/>
                  <a:pt x="12691" y="4105"/>
                  <a:pt x="12691" y="4105"/>
                </a:cubicBezTo>
                <a:cubicBezTo>
                  <a:pt x="12639" y="4127"/>
                  <a:pt x="12639" y="4127"/>
                  <a:pt x="12639" y="4127"/>
                </a:cubicBezTo>
                <a:cubicBezTo>
                  <a:pt x="12639" y="4127"/>
                  <a:pt x="12651" y="4140"/>
                  <a:pt x="12636" y="4141"/>
                </a:cubicBezTo>
                <a:cubicBezTo>
                  <a:pt x="12621" y="4142"/>
                  <a:pt x="12608" y="4133"/>
                  <a:pt x="12599" y="4133"/>
                </a:cubicBezTo>
                <a:cubicBezTo>
                  <a:pt x="12591" y="4133"/>
                  <a:pt x="12576" y="4146"/>
                  <a:pt x="12566" y="4144"/>
                </a:cubicBezTo>
                <a:cubicBezTo>
                  <a:pt x="12555" y="4141"/>
                  <a:pt x="12530" y="4129"/>
                  <a:pt x="12523" y="4129"/>
                </a:cubicBezTo>
                <a:cubicBezTo>
                  <a:pt x="12516" y="4129"/>
                  <a:pt x="12500" y="4129"/>
                  <a:pt x="12500" y="4129"/>
                </a:cubicBezTo>
                <a:cubicBezTo>
                  <a:pt x="12508" y="4117"/>
                  <a:pt x="12508" y="4117"/>
                  <a:pt x="12508" y="4117"/>
                </a:cubicBezTo>
                <a:cubicBezTo>
                  <a:pt x="12508" y="4117"/>
                  <a:pt x="12481" y="4110"/>
                  <a:pt x="12478" y="4113"/>
                </a:cubicBezTo>
                <a:cubicBezTo>
                  <a:pt x="12474" y="4117"/>
                  <a:pt x="12479" y="4134"/>
                  <a:pt x="12467" y="4141"/>
                </a:cubicBezTo>
                <a:cubicBezTo>
                  <a:pt x="12456" y="4148"/>
                  <a:pt x="12434" y="4146"/>
                  <a:pt x="12434" y="4152"/>
                </a:cubicBezTo>
                <a:cubicBezTo>
                  <a:pt x="12434" y="4158"/>
                  <a:pt x="12433" y="4172"/>
                  <a:pt x="12433" y="4172"/>
                </a:cubicBezTo>
                <a:cubicBezTo>
                  <a:pt x="12419" y="4174"/>
                  <a:pt x="12419" y="4174"/>
                  <a:pt x="12419" y="4174"/>
                </a:cubicBezTo>
                <a:cubicBezTo>
                  <a:pt x="12429" y="4221"/>
                  <a:pt x="12429" y="4221"/>
                  <a:pt x="12429" y="4221"/>
                </a:cubicBezTo>
                <a:cubicBezTo>
                  <a:pt x="12419" y="4220"/>
                  <a:pt x="12419" y="4220"/>
                  <a:pt x="12419" y="4220"/>
                </a:cubicBezTo>
                <a:cubicBezTo>
                  <a:pt x="12419" y="4220"/>
                  <a:pt x="12402" y="4245"/>
                  <a:pt x="12400" y="4255"/>
                </a:cubicBezTo>
                <a:cubicBezTo>
                  <a:pt x="12397" y="4265"/>
                  <a:pt x="12416" y="4285"/>
                  <a:pt x="12408" y="4294"/>
                </a:cubicBezTo>
                <a:cubicBezTo>
                  <a:pt x="12400" y="4303"/>
                  <a:pt x="12377" y="4309"/>
                  <a:pt x="12375" y="4322"/>
                </a:cubicBezTo>
                <a:cubicBezTo>
                  <a:pt x="12374" y="4336"/>
                  <a:pt x="12385" y="4349"/>
                  <a:pt x="12385" y="4349"/>
                </a:cubicBezTo>
                <a:cubicBezTo>
                  <a:pt x="12385" y="4349"/>
                  <a:pt x="12369" y="4363"/>
                  <a:pt x="12379" y="4370"/>
                </a:cubicBezTo>
                <a:cubicBezTo>
                  <a:pt x="12390" y="4377"/>
                  <a:pt x="12408" y="4362"/>
                  <a:pt x="12412" y="4374"/>
                </a:cubicBezTo>
                <a:cubicBezTo>
                  <a:pt x="12416" y="4386"/>
                  <a:pt x="12408" y="4395"/>
                  <a:pt x="12408" y="4395"/>
                </a:cubicBezTo>
                <a:cubicBezTo>
                  <a:pt x="12419" y="4409"/>
                  <a:pt x="12419" y="4409"/>
                  <a:pt x="12419" y="4409"/>
                </a:cubicBezTo>
                <a:cubicBezTo>
                  <a:pt x="12413" y="4453"/>
                  <a:pt x="12413" y="4453"/>
                  <a:pt x="12413" y="4453"/>
                </a:cubicBezTo>
                <a:cubicBezTo>
                  <a:pt x="12413" y="4453"/>
                  <a:pt x="12389" y="4467"/>
                  <a:pt x="12401" y="4491"/>
                </a:cubicBezTo>
                <a:cubicBezTo>
                  <a:pt x="12412" y="4515"/>
                  <a:pt x="12428" y="4515"/>
                  <a:pt x="12446" y="4497"/>
                </a:cubicBezTo>
                <a:cubicBezTo>
                  <a:pt x="12463" y="4480"/>
                  <a:pt x="12443" y="4451"/>
                  <a:pt x="12443" y="4451"/>
                </a:cubicBezTo>
                <a:cubicBezTo>
                  <a:pt x="12443" y="4451"/>
                  <a:pt x="12464" y="4436"/>
                  <a:pt x="12464" y="4415"/>
                </a:cubicBezTo>
                <a:cubicBezTo>
                  <a:pt x="12463" y="4393"/>
                  <a:pt x="12472" y="4374"/>
                  <a:pt x="12465" y="4361"/>
                </a:cubicBezTo>
                <a:cubicBezTo>
                  <a:pt x="12457" y="4349"/>
                  <a:pt x="12453" y="4324"/>
                  <a:pt x="12455" y="4319"/>
                </a:cubicBezTo>
                <a:cubicBezTo>
                  <a:pt x="12456" y="4314"/>
                  <a:pt x="12462" y="4286"/>
                  <a:pt x="12472" y="4304"/>
                </a:cubicBezTo>
                <a:cubicBezTo>
                  <a:pt x="12483" y="4322"/>
                  <a:pt x="12483" y="4353"/>
                  <a:pt x="12483" y="4353"/>
                </a:cubicBezTo>
                <a:cubicBezTo>
                  <a:pt x="12506" y="4379"/>
                  <a:pt x="12506" y="4379"/>
                  <a:pt x="12506" y="4379"/>
                </a:cubicBezTo>
                <a:cubicBezTo>
                  <a:pt x="12503" y="4414"/>
                  <a:pt x="12503" y="4414"/>
                  <a:pt x="12503" y="4414"/>
                </a:cubicBezTo>
                <a:cubicBezTo>
                  <a:pt x="12520" y="4436"/>
                  <a:pt x="12520" y="4436"/>
                  <a:pt x="12520" y="4436"/>
                </a:cubicBezTo>
                <a:cubicBezTo>
                  <a:pt x="12521" y="4460"/>
                  <a:pt x="12521" y="4460"/>
                  <a:pt x="12521" y="4460"/>
                </a:cubicBezTo>
                <a:cubicBezTo>
                  <a:pt x="12530" y="4509"/>
                  <a:pt x="12530" y="4509"/>
                  <a:pt x="12530" y="4509"/>
                </a:cubicBezTo>
                <a:cubicBezTo>
                  <a:pt x="12540" y="4499"/>
                  <a:pt x="12540" y="4499"/>
                  <a:pt x="12540" y="4499"/>
                </a:cubicBezTo>
                <a:cubicBezTo>
                  <a:pt x="12567" y="4507"/>
                  <a:pt x="12567" y="4507"/>
                  <a:pt x="12567" y="4507"/>
                </a:cubicBezTo>
                <a:cubicBezTo>
                  <a:pt x="12567" y="4507"/>
                  <a:pt x="12569" y="4490"/>
                  <a:pt x="12568" y="4477"/>
                </a:cubicBezTo>
                <a:cubicBezTo>
                  <a:pt x="12567" y="4464"/>
                  <a:pt x="12574" y="4457"/>
                  <a:pt x="12574" y="4457"/>
                </a:cubicBezTo>
                <a:cubicBezTo>
                  <a:pt x="12580" y="4473"/>
                  <a:pt x="12580" y="4473"/>
                  <a:pt x="12580" y="4473"/>
                </a:cubicBezTo>
                <a:cubicBezTo>
                  <a:pt x="12580" y="4473"/>
                  <a:pt x="12597" y="4475"/>
                  <a:pt x="12599" y="4459"/>
                </a:cubicBezTo>
                <a:close/>
                <a:moveTo>
                  <a:pt x="12583" y="4272"/>
                </a:moveTo>
                <a:cubicBezTo>
                  <a:pt x="12583" y="4285"/>
                  <a:pt x="12583" y="4285"/>
                  <a:pt x="12583" y="4285"/>
                </a:cubicBezTo>
                <a:cubicBezTo>
                  <a:pt x="12583" y="4285"/>
                  <a:pt x="12598" y="4297"/>
                  <a:pt x="12605" y="4280"/>
                </a:cubicBezTo>
                <a:cubicBezTo>
                  <a:pt x="12613" y="4264"/>
                  <a:pt x="12583" y="4272"/>
                  <a:pt x="12583" y="4272"/>
                </a:cubicBezTo>
                <a:close/>
                <a:moveTo>
                  <a:pt x="13088" y="6319"/>
                </a:moveTo>
                <a:cubicBezTo>
                  <a:pt x="13081" y="6346"/>
                  <a:pt x="13081" y="6346"/>
                  <a:pt x="13081" y="6346"/>
                </a:cubicBezTo>
                <a:cubicBezTo>
                  <a:pt x="13115" y="6314"/>
                  <a:pt x="13115" y="6314"/>
                  <a:pt x="13115" y="6314"/>
                </a:cubicBezTo>
                <a:lnTo>
                  <a:pt x="13088" y="6319"/>
                </a:lnTo>
                <a:close/>
                <a:moveTo>
                  <a:pt x="11727" y="4185"/>
                </a:moveTo>
                <a:cubicBezTo>
                  <a:pt x="11710" y="4172"/>
                  <a:pt x="11710" y="4172"/>
                  <a:pt x="11710" y="4172"/>
                </a:cubicBezTo>
                <a:cubicBezTo>
                  <a:pt x="11708" y="4195"/>
                  <a:pt x="11708" y="4195"/>
                  <a:pt x="11708" y="4195"/>
                </a:cubicBezTo>
                <a:cubicBezTo>
                  <a:pt x="11727" y="4206"/>
                  <a:pt x="11727" y="4206"/>
                  <a:pt x="11727" y="4206"/>
                </a:cubicBezTo>
                <a:lnTo>
                  <a:pt x="11727" y="4185"/>
                </a:lnTo>
                <a:close/>
                <a:moveTo>
                  <a:pt x="11714" y="4134"/>
                </a:moveTo>
                <a:cubicBezTo>
                  <a:pt x="11709" y="4122"/>
                  <a:pt x="11695" y="4129"/>
                  <a:pt x="11705" y="4145"/>
                </a:cubicBezTo>
                <a:cubicBezTo>
                  <a:pt x="11716" y="4164"/>
                  <a:pt x="11719" y="4146"/>
                  <a:pt x="11714" y="4134"/>
                </a:cubicBezTo>
                <a:close/>
                <a:moveTo>
                  <a:pt x="11565" y="4097"/>
                </a:moveTo>
                <a:cubicBezTo>
                  <a:pt x="11569" y="4111"/>
                  <a:pt x="11594" y="4094"/>
                  <a:pt x="11582" y="4085"/>
                </a:cubicBezTo>
                <a:cubicBezTo>
                  <a:pt x="11570" y="4075"/>
                  <a:pt x="11559" y="4081"/>
                  <a:pt x="11565" y="4097"/>
                </a:cubicBezTo>
                <a:close/>
                <a:moveTo>
                  <a:pt x="11290" y="4037"/>
                </a:moveTo>
                <a:cubicBezTo>
                  <a:pt x="11285" y="4042"/>
                  <a:pt x="11283" y="4058"/>
                  <a:pt x="11295" y="4059"/>
                </a:cubicBezTo>
                <a:cubicBezTo>
                  <a:pt x="11307" y="4061"/>
                  <a:pt x="11310" y="4074"/>
                  <a:pt x="11321" y="4066"/>
                </a:cubicBezTo>
                <a:cubicBezTo>
                  <a:pt x="11328" y="4060"/>
                  <a:pt x="11295" y="4031"/>
                  <a:pt x="11290" y="4037"/>
                </a:cubicBezTo>
                <a:close/>
                <a:moveTo>
                  <a:pt x="12963" y="4199"/>
                </a:moveTo>
                <a:cubicBezTo>
                  <a:pt x="12946" y="4196"/>
                  <a:pt x="12935" y="4201"/>
                  <a:pt x="12935" y="4201"/>
                </a:cubicBezTo>
                <a:cubicBezTo>
                  <a:pt x="12939" y="4219"/>
                  <a:pt x="12939" y="4219"/>
                  <a:pt x="12939" y="4219"/>
                </a:cubicBezTo>
                <a:cubicBezTo>
                  <a:pt x="12948" y="4218"/>
                  <a:pt x="12976" y="4213"/>
                  <a:pt x="12976" y="4213"/>
                </a:cubicBezTo>
                <a:cubicBezTo>
                  <a:pt x="12976" y="4213"/>
                  <a:pt x="12980" y="4201"/>
                  <a:pt x="12963" y="4199"/>
                </a:cubicBezTo>
                <a:close/>
                <a:moveTo>
                  <a:pt x="11713" y="4250"/>
                </a:moveTo>
                <a:cubicBezTo>
                  <a:pt x="11710" y="4216"/>
                  <a:pt x="11710" y="4216"/>
                  <a:pt x="11710" y="4216"/>
                </a:cubicBezTo>
                <a:cubicBezTo>
                  <a:pt x="11696" y="4229"/>
                  <a:pt x="11696" y="4229"/>
                  <a:pt x="11696" y="4229"/>
                </a:cubicBezTo>
                <a:lnTo>
                  <a:pt x="11713" y="4250"/>
                </a:lnTo>
                <a:close/>
                <a:moveTo>
                  <a:pt x="12415" y="4728"/>
                </a:moveTo>
                <a:cubicBezTo>
                  <a:pt x="12428" y="4728"/>
                  <a:pt x="12418" y="4737"/>
                  <a:pt x="12428" y="4747"/>
                </a:cubicBezTo>
                <a:cubicBezTo>
                  <a:pt x="12439" y="4757"/>
                  <a:pt x="12459" y="4748"/>
                  <a:pt x="12459" y="4748"/>
                </a:cubicBezTo>
                <a:cubicBezTo>
                  <a:pt x="12459" y="4748"/>
                  <a:pt x="12455" y="4729"/>
                  <a:pt x="12442" y="4712"/>
                </a:cubicBezTo>
                <a:cubicBezTo>
                  <a:pt x="12428" y="4694"/>
                  <a:pt x="12403" y="4707"/>
                  <a:pt x="12403" y="4707"/>
                </a:cubicBezTo>
                <a:cubicBezTo>
                  <a:pt x="12380" y="4700"/>
                  <a:pt x="12380" y="4700"/>
                  <a:pt x="12380" y="4700"/>
                </a:cubicBezTo>
                <a:cubicBezTo>
                  <a:pt x="12373" y="4706"/>
                  <a:pt x="12374" y="4707"/>
                  <a:pt x="12384" y="4723"/>
                </a:cubicBezTo>
                <a:cubicBezTo>
                  <a:pt x="12395" y="4739"/>
                  <a:pt x="12402" y="4728"/>
                  <a:pt x="12415" y="4728"/>
                </a:cubicBezTo>
                <a:close/>
                <a:moveTo>
                  <a:pt x="11858" y="4331"/>
                </a:moveTo>
                <a:cubicBezTo>
                  <a:pt x="11839" y="4332"/>
                  <a:pt x="11845" y="4351"/>
                  <a:pt x="11851" y="4369"/>
                </a:cubicBezTo>
                <a:cubicBezTo>
                  <a:pt x="11866" y="4363"/>
                  <a:pt x="11866" y="4363"/>
                  <a:pt x="11866" y="4363"/>
                </a:cubicBezTo>
                <a:cubicBezTo>
                  <a:pt x="11879" y="4376"/>
                  <a:pt x="11879" y="4376"/>
                  <a:pt x="11879" y="4376"/>
                </a:cubicBezTo>
                <a:cubicBezTo>
                  <a:pt x="11885" y="4359"/>
                  <a:pt x="11885" y="4359"/>
                  <a:pt x="11885" y="4359"/>
                </a:cubicBezTo>
                <a:cubicBezTo>
                  <a:pt x="11885" y="4359"/>
                  <a:pt x="11877" y="4329"/>
                  <a:pt x="11858" y="4331"/>
                </a:cubicBezTo>
                <a:close/>
                <a:moveTo>
                  <a:pt x="11735" y="4304"/>
                </a:moveTo>
                <a:cubicBezTo>
                  <a:pt x="11762" y="4303"/>
                  <a:pt x="11762" y="4303"/>
                  <a:pt x="11762" y="4303"/>
                </a:cubicBezTo>
                <a:cubicBezTo>
                  <a:pt x="11762" y="4303"/>
                  <a:pt x="11767" y="4332"/>
                  <a:pt x="11778" y="4344"/>
                </a:cubicBezTo>
                <a:cubicBezTo>
                  <a:pt x="11788" y="4356"/>
                  <a:pt x="11814" y="4356"/>
                  <a:pt x="11814" y="4356"/>
                </a:cubicBezTo>
                <a:cubicBezTo>
                  <a:pt x="11813" y="4328"/>
                  <a:pt x="11813" y="4328"/>
                  <a:pt x="11813" y="4328"/>
                </a:cubicBezTo>
                <a:cubicBezTo>
                  <a:pt x="11801" y="4320"/>
                  <a:pt x="11801" y="4320"/>
                  <a:pt x="11801" y="4320"/>
                </a:cubicBezTo>
                <a:cubicBezTo>
                  <a:pt x="11800" y="4300"/>
                  <a:pt x="11800" y="4300"/>
                  <a:pt x="11800" y="4300"/>
                </a:cubicBezTo>
                <a:cubicBezTo>
                  <a:pt x="11800" y="4300"/>
                  <a:pt x="11785" y="4275"/>
                  <a:pt x="11763" y="4269"/>
                </a:cubicBezTo>
                <a:cubicBezTo>
                  <a:pt x="11741" y="4263"/>
                  <a:pt x="11742" y="4288"/>
                  <a:pt x="11742" y="4288"/>
                </a:cubicBezTo>
                <a:cubicBezTo>
                  <a:pt x="11742" y="4288"/>
                  <a:pt x="11728" y="4284"/>
                  <a:pt x="11735" y="4304"/>
                </a:cubicBezTo>
                <a:close/>
                <a:moveTo>
                  <a:pt x="12723" y="3710"/>
                </a:moveTo>
                <a:cubicBezTo>
                  <a:pt x="12712" y="3705"/>
                  <a:pt x="12687" y="3669"/>
                  <a:pt x="12678" y="3677"/>
                </a:cubicBezTo>
                <a:cubicBezTo>
                  <a:pt x="12670" y="3685"/>
                  <a:pt x="12702" y="3708"/>
                  <a:pt x="12695" y="3712"/>
                </a:cubicBezTo>
                <a:cubicBezTo>
                  <a:pt x="12688" y="3715"/>
                  <a:pt x="12658" y="3718"/>
                  <a:pt x="12658" y="3718"/>
                </a:cubicBezTo>
                <a:cubicBezTo>
                  <a:pt x="12658" y="3739"/>
                  <a:pt x="12658" y="3739"/>
                  <a:pt x="12658" y="3739"/>
                </a:cubicBezTo>
                <a:cubicBezTo>
                  <a:pt x="12644" y="3738"/>
                  <a:pt x="12644" y="3738"/>
                  <a:pt x="12644" y="3738"/>
                </a:cubicBezTo>
                <a:cubicBezTo>
                  <a:pt x="12640" y="3753"/>
                  <a:pt x="12640" y="3753"/>
                  <a:pt x="12640" y="3753"/>
                </a:cubicBezTo>
                <a:cubicBezTo>
                  <a:pt x="12623" y="3762"/>
                  <a:pt x="12623" y="3762"/>
                  <a:pt x="12623" y="3762"/>
                </a:cubicBezTo>
                <a:cubicBezTo>
                  <a:pt x="12623" y="3762"/>
                  <a:pt x="12598" y="3746"/>
                  <a:pt x="12589" y="3754"/>
                </a:cubicBezTo>
                <a:cubicBezTo>
                  <a:pt x="12581" y="3762"/>
                  <a:pt x="12565" y="3790"/>
                  <a:pt x="12565" y="3790"/>
                </a:cubicBezTo>
                <a:cubicBezTo>
                  <a:pt x="12565" y="3790"/>
                  <a:pt x="12555" y="3771"/>
                  <a:pt x="12550" y="3780"/>
                </a:cubicBezTo>
                <a:cubicBezTo>
                  <a:pt x="12545" y="3790"/>
                  <a:pt x="12533" y="3813"/>
                  <a:pt x="12533" y="3813"/>
                </a:cubicBezTo>
                <a:cubicBezTo>
                  <a:pt x="12546" y="3826"/>
                  <a:pt x="12546" y="3826"/>
                  <a:pt x="12546" y="3826"/>
                </a:cubicBezTo>
                <a:cubicBezTo>
                  <a:pt x="12560" y="3813"/>
                  <a:pt x="12560" y="3813"/>
                  <a:pt x="12560" y="3813"/>
                </a:cubicBezTo>
                <a:cubicBezTo>
                  <a:pt x="12569" y="3829"/>
                  <a:pt x="12569" y="3829"/>
                  <a:pt x="12569" y="3829"/>
                </a:cubicBezTo>
                <a:cubicBezTo>
                  <a:pt x="12569" y="3829"/>
                  <a:pt x="12596" y="3807"/>
                  <a:pt x="12603" y="3807"/>
                </a:cubicBezTo>
                <a:cubicBezTo>
                  <a:pt x="12610" y="3807"/>
                  <a:pt x="12632" y="3828"/>
                  <a:pt x="12632" y="3828"/>
                </a:cubicBezTo>
                <a:cubicBezTo>
                  <a:pt x="12632" y="3828"/>
                  <a:pt x="12622" y="3834"/>
                  <a:pt x="12622" y="3843"/>
                </a:cubicBezTo>
                <a:cubicBezTo>
                  <a:pt x="12622" y="3851"/>
                  <a:pt x="12640" y="3887"/>
                  <a:pt x="12649" y="3890"/>
                </a:cubicBezTo>
                <a:cubicBezTo>
                  <a:pt x="12658" y="3893"/>
                  <a:pt x="12682" y="3900"/>
                  <a:pt x="12682" y="3900"/>
                </a:cubicBezTo>
                <a:cubicBezTo>
                  <a:pt x="12695" y="3887"/>
                  <a:pt x="12695" y="3887"/>
                  <a:pt x="12695" y="3887"/>
                </a:cubicBezTo>
                <a:cubicBezTo>
                  <a:pt x="12697" y="3903"/>
                  <a:pt x="12697" y="3903"/>
                  <a:pt x="12697" y="3903"/>
                </a:cubicBezTo>
                <a:cubicBezTo>
                  <a:pt x="12711" y="3905"/>
                  <a:pt x="12711" y="3905"/>
                  <a:pt x="12711" y="3905"/>
                </a:cubicBezTo>
                <a:cubicBezTo>
                  <a:pt x="12712" y="3879"/>
                  <a:pt x="12712" y="3879"/>
                  <a:pt x="12712" y="3879"/>
                </a:cubicBezTo>
                <a:cubicBezTo>
                  <a:pt x="12712" y="3879"/>
                  <a:pt x="12692" y="3857"/>
                  <a:pt x="12697" y="3844"/>
                </a:cubicBezTo>
                <a:cubicBezTo>
                  <a:pt x="12702" y="3831"/>
                  <a:pt x="12709" y="3828"/>
                  <a:pt x="12709" y="3828"/>
                </a:cubicBezTo>
                <a:cubicBezTo>
                  <a:pt x="12726" y="3862"/>
                  <a:pt x="12726" y="3862"/>
                  <a:pt x="12726" y="3862"/>
                </a:cubicBezTo>
                <a:cubicBezTo>
                  <a:pt x="12726" y="3862"/>
                  <a:pt x="12745" y="3836"/>
                  <a:pt x="12745" y="3820"/>
                </a:cubicBezTo>
                <a:cubicBezTo>
                  <a:pt x="12745" y="3803"/>
                  <a:pt x="12733" y="3785"/>
                  <a:pt x="12733" y="3785"/>
                </a:cubicBezTo>
                <a:cubicBezTo>
                  <a:pt x="12733" y="3746"/>
                  <a:pt x="12733" y="3746"/>
                  <a:pt x="12733" y="3746"/>
                </a:cubicBezTo>
                <a:cubicBezTo>
                  <a:pt x="12733" y="3746"/>
                  <a:pt x="12733" y="3715"/>
                  <a:pt x="12723" y="3710"/>
                </a:cubicBezTo>
                <a:close/>
                <a:moveTo>
                  <a:pt x="12682" y="4300"/>
                </a:moveTo>
                <a:cubicBezTo>
                  <a:pt x="12735" y="4290"/>
                  <a:pt x="12735" y="4290"/>
                  <a:pt x="12735" y="4290"/>
                </a:cubicBezTo>
                <a:cubicBezTo>
                  <a:pt x="12682" y="4288"/>
                  <a:pt x="12682" y="4288"/>
                  <a:pt x="12682" y="4288"/>
                </a:cubicBezTo>
                <a:cubicBezTo>
                  <a:pt x="12682" y="4288"/>
                  <a:pt x="12660" y="4276"/>
                  <a:pt x="12653" y="4279"/>
                </a:cubicBezTo>
                <a:cubicBezTo>
                  <a:pt x="12647" y="4282"/>
                  <a:pt x="12644" y="4291"/>
                  <a:pt x="12644" y="4291"/>
                </a:cubicBezTo>
                <a:cubicBezTo>
                  <a:pt x="12651" y="4305"/>
                  <a:pt x="12682" y="4300"/>
                  <a:pt x="12682" y="4300"/>
                </a:cubicBezTo>
                <a:close/>
                <a:moveTo>
                  <a:pt x="12655" y="4644"/>
                </a:moveTo>
                <a:cubicBezTo>
                  <a:pt x="12655" y="4625"/>
                  <a:pt x="12655" y="4625"/>
                  <a:pt x="12655" y="4625"/>
                </a:cubicBezTo>
                <a:cubicBezTo>
                  <a:pt x="12634" y="4639"/>
                  <a:pt x="12634" y="4639"/>
                  <a:pt x="12634" y="4639"/>
                </a:cubicBezTo>
                <a:lnTo>
                  <a:pt x="12655" y="4644"/>
                </a:lnTo>
                <a:close/>
                <a:moveTo>
                  <a:pt x="12704" y="4603"/>
                </a:moveTo>
                <a:cubicBezTo>
                  <a:pt x="12692" y="4625"/>
                  <a:pt x="12692" y="4625"/>
                  <a:pt x="12692" y="4625"/>
                </a:cubicBezTo>
                <a:cubicBezTo>
                  <a:pt x="12742" y="4613"/>
                  <a:pt x="12742" y="4613"/>
                  <a:pt x="12742" y="4613"/>
                </a:cubicBezTo>
                <a:lnTo>
                  <a:pt x="12704" y="4603"/>
                </a:lnTo>
                <a:close/>
                <a:moveTo>
                  <a:pt x="12769" y="3949"/>
                </a:moveTo>
                <a:cubicBezTo>
                  <a:pt x="12758" y="3949"/>
                  <a:pt x="12758" y="3949"/>
                  <a:pt x="12758" y="3949"/>
                </a:cubicBezTo>
                <a:cubicBezTo>
                  <a:pt x="12754" y="3968"/>
                  <a:pt x="12754" y="3968"/>
                  <a:pt x="12754" y="3968"/>
                </a:cubicBezTo>
                <a:cubicBezTo>
                  <a:pt x="12757" y="3987"/>
                  <a:pt x="12757" y="3987"/>
                  <a:pt x="12757" y="3987"/>
                </a:cubicBezTo>
                <a:cubicBezTo>
                  <a:pt x="12769" y="3977"/>
                  <a:pt x="12769" y="3977"/>
                  <a:pt x="12769" y="3977"/>
                </a:cubicBezTo>
                <a:lnTo>
                  <a:pt x="12769" y="3949"/>
                </a:lnTo>
                <a:close/>
                <a:moveTo>
                  <a:pt x="12514" y="3620"/>
                </a:moveTo>
                <a:cubicBezTo>
                  <a:pt x="12519" y="3630"/>
                  <a:pt x="12527" y="3640"/>
                  <a:pt x="12527" y="3640"/>
                </a:cubicBezTo>
                <a:cubicBezTo>
                  <a:pt x="12527" y="3640"/>
                  <a:pt x="12543" y="3623"/>
                  <a:pt x="12548" y="3627"/>
                </a:cubicBezTo>
                <a:cubicBezTo>
                  <a:pt x="12553" y="3630"/>
                  <a:pt x="12553" y="3649"/>
                  <a:pt x="12553" y="3649"/>
                </a:cubicBezTo>
                <a:cubicBezTo>
                  <a:pt x="12562" y="3658"/>
                  <a:pt x="12562" y="3658"/>
                  <a:pt x="12562" y="3658"/>
                </a:cubicBezTo>
                <a:cubicBezTo>
                  <a:pt x="12562" y="3658"/>
                  <a:pt x="12539" y="3692"/>
                  <a:pt x="12539" y="3699"/>
                </a:cubicBezTo>
                <a:cubicBezTo>
                  <a:pt x="12539" y="3705"/>
                  <a:pt x="12539" y="3725"/>
                  <a:pt x="12555" y="3721"/>
                </a:cubicBezTo>
                <a:cubicBezTo>
                  <a:pt x="12570" y="3718"/>
                  <a:pt x="12593" y="3713"/>
                  <a:pt x="12584" y="3699"/>
                </a:cubicBezTo>
                <a:cubicBezTo>
                  <a:pt x="12575" y="3684"/>
                  <a:pt x="12574" y="3672"/>
                  <a:pt x="12582" y="3649"/>
                </a:cubicBezTo>
                <a:cubicBezTo>
                  <a:pt x="12591" y="3627"/>
                  <a:pt x="12584" y="3610"/>
                  <a:pt x="12577" y="3617"/>
                </a:cubicBezTo>
                <a:cubicBezTo>
                  <a:pt x="12570" y="3623"/>
                  <a:pt x="12557" y="3631"/>
                  <a:pt x="12557" y="3623"/>
                </a:cubicBezTo>
                <a:cubicBezTo>
                  <a:pt x="12557" y="3615"/>
                  <a:pt x="12577" y="3584"/>
                  <a:pt x="12565" y="3581"/>
                </a:cubicBezTo>
                <a:cubicBezTo>
                  <a:pt x="12553" y="3577"/>
                  <a:pt x="12531" y="3564"/>
                  <a:pt x="12531" y="3564"/>
                </a:cubicBezTo>
                <a:cubicBezTo>
                  <a:pt x="12531" y="3564"/>
                  <a:pt x="12510" y="3559"/>
                  <a:pt x="12509" y="3566"/>
                </a:cubicBezTo>
                <a:cubicBezTo>
                  <a:pt x="12507" y="3573"/>
                  <a:pt x="12521" y="3584"/>
                  <a:pt x="12521" y="3584"/>
                </a:cubicBezTo>
                <a:cubicBezTo>
                  <a:pt x="12521" y="3584"/>
                  <a:pt x="12509" y="3610"/>
                  <a:pt x="12514" y="3620"/>
                </a:cubicBezTo>
                <a:close/>
                <a:moveTo>
                  <a:pt x="12541" y="3865"/>
                </a:moveTo>
                <a:cubicBezTo>
                  <a:pt x="12526" y="3854"/>
                  <a:pt x="12526" y="3854"/>
                  <a:pt x="12526" y="3854"/>
                </a:cubicBezTo>
                <a:cubicBezTo>
                  <a:pt x="12514" y="3870"/>
                  <a:pt x="12514" y="3870"/>
                  <a:pt x="12514" y="3870"/>
                </a:cubicBezTo>
                <a:cubicBezTo>
                  <a:pt x="12539" y="3892"/>
                  <a:pt x="12539" y="3892"/>
                  <a:pt x="12539" y="3892"/>
                </a:cubicBezTo>
                <a:lnTo>
                  <a:pt x="12541" y="3865"/>
                </a:lnTo>
                <a:close/>
                <a:moveTo>
                  <a:pt x="12673" y="3627"/>
                </a:moveTo>
                <a:cubicBezTo>
                  <a:pt x="12654" y="3620"/>
                  <a:pt x="12654" y="3620"/>
                  <a:pt x="12654" y="3620"/>
                </a:cubicBezTo>
                <a:cubicBezTo>
                  <a:pt x="12654" y="3620"/>
                  <a:pt x="12646" y="3610"/>
                  <a:pt x="12642" y="3602"/>
                </a:cubicBezTo>
                <a:cubicBezTo>
                  <a:pt x="12639" y="3594"/>
                  <a:pt x="12615" y="3599"/>
                  <a:pt x="12615" y="3599"/>
                </a:cubicBezTo>
                <a:cubicBezTo>
                  <a:pt x="12618" y="3628"/>
                  <a:pt x="12618" y="3628"/>
                  <a:pt x="12618" y="3628"/>
                </a:cubicBezTo>
                <a:cubicBezTo>
                  <a:pt x="12634" y="3622"/>
                  <a:pt x="12634" y="3622"/>
                  <a:pt x="12634" y="3622"/>
                </a:cubicBezTo>
                <a:cubicBezTo>
                  <a:pt x="12640" y="3638"/>
                  <a:pt x="12640" y="3638"/>
                  <a:pt x="12640" y="3638"/>
                </a:cubicBezTo>
                <a:cubicBezTo>
                  <a:pt x="12673" y="3663"/>
                  <a:pt x="12673" y="3663"/>
                  <a:pt x="12673" y="3663"/>
                </a:cubicBezTo>
                <a:lnTo>
                  <a:pt x="12673" y="3627"/>
                </a:lnTo>
                <a:close/>
                <a:moveTo>
                  <a:pt x="12737" y="4360"/>
                </a:moveTo>
                <a:cubicBezTo>
                  <a:pt x="12737" y="4360"/>
                  <a:pt x="12730" y="4379"/>
                  <a:pt x="12744" y="4388"/>
                </a:cubicBezTo>
                <a:cubicBezTo>
                  <a:pt x="12757" y="4398"/>
                  <a:pt x="12776" y="4394"/>
                  <a:pt x="12776" y="4394"/>
                </a:cubicBezTo>
                <a:cubicBezTo>
                  <a:pt x="12784" y="4383"/>
                  <a:pt x="12772" y="4356"/>
                  <a:pt x="12772" y="4356"/>
                </a:cubicBezTo>
                <a:cubicBezTo>
                  <a:pt x="12760" y="4359"/>
                  <a:pt x="12760" y="4359"/>
                  <a:pt x="12760" y="4359"/>
                </a:cubicBezTo>
                <a:cubicBezTo>
                  <a:pt x="12751" y="4349"/>
                  <a:pt x="12751" y="4349"/>
                  <a:pt x="12751" y="4349"/>
                </a:cubicBezTo>
                <a:lnTo>
                  <a:pt x="12737" y="4360"/>
                </a:lnTo>
                <a:close/>
                <a:moveTo>
                  <a:pt x="12681" y="3971"/>
                </a:moveTo>
                <a:cubicBezTo>
                  <a:pt x="12692" y="3949"/>
                  <a:pt x="12692" y="3949"/>
                  <a:pt x="12692" y="3949"/>
                </a:cubicBezTo>
                <a:cubicBezTo>
                  <a:pt x="12677" y="3944"/>
                  <a:pt x="12677" y="3944"/>
                  <a:pt x="12677" y="3944"/>
                </a:cubicBezTo>
                <a:lnTo>
                  <a:pt x="12681" y="3971"/>
                </a:lnTo>
                <a:close/>
                <a:moveTo>
                  <a:pt x="12619" y="3680"/>
                </a:moveTo>
                <a:cubicBezTo>
                  <a:pt x="12640" y="3678"/>
                  <a:pt x="12640" y="3678"/>
                  <a:pt x="12640" y="3678"/>
                </a:cubicBezTo>
                <a:cubicBezTo>
                  <a:pt x="12643" y="3661"/>
                  <a:pt x="12643" y="3661"/>
                  <a:pt x="12643" y="3661"/>
                </a:cubicBezTo>
                <a:cubicBezTo>
                  <a:pt x="12625" y="3655"/>
                  <a:pt x="12625" y="3655"/>
                  <a:pt x="12625" y="3655"/>
                </a:cubicBezTo>
                <a:lnTo>
                  <a:pt x="12619" y="3680"/>
                </a:lnTo>
                <a:close/>
                <a:moveTo>
                  <a:pt x="12387" y="4660"/>
                </a:moveTo>
                <a:cubicBezTo>
                  <a:pt x="12392" y="4643"/>
                  <a:pt x="12391" y="4631"/>
                  <a:pt x="12382" y="4628"/>
                </a:cubicBezTo>
                <a:cubicBezTo>
                  <a:pt x="12373" y="4625"/>
                  <a:pt x="12366" y="4631"/>
                  <a:pt x="12366" y="4631"/>
                </a:cubicBezTo>
                <a:cubicBezTo>
                  <a:pt x="12335" y="4624"/>
                  <a:pt x="12335" y="4624"/>
                  <a:pt x="12335" y="4624"/>
                </a:cubicBezTo>
                <a:cubicBezTo>
                  <a:pt x="12354" y="4651"/>
                  <a:pt x="12354" y="4651"/>
                  <a:pt x="12354" y="4651"/>
                </a:cubicBezTo>
                <a:cubicBezTo>
                  <a:pt x="12354" y="4651"/>
                  <a:pt x="12381" y="4678"/>
                  <a:pt x="12387" y="4660"/>
                </a:cubicBezTo>
                <a:close/>
                <a:moveTo>
                  <a:pt x="12297" y="4695"/>
                </a:moveTo>
                <a:cubicBezTo>
                  <a:pt x="12312" y="4693"/>
                  <a:pt x="12312" y="4693"/>
                  <a:pt x="12312" y="4693"/>
                </a:cubicBezTo>
                <a:cubicBezTo>
                  <a:pt x="12318" y="4679"/>
                  <a:pt x="12318" y="4679"/>
                  <a:pt x="12318" y="4679"/>
                </a:cubicBezTo>
                <a:cubicBezTo>
                  <a:pt x="12337" y="4690"/>
                  <a:pt x="12337" y="4690"/>
                  <a:pt x="12337" y="4690"/>
                </a:cubicBezTo>
                <a:cubicBezTo>
                  <a:pt x="12356" y="4668"/>
                  <a:pt x="12356" y="4668"/>
                  <a:pt x="12356" y="4668"/>
                </a:cubicBezTo>
                <a:cubicBezTo>
                  <a:pt x="12322" y="4656"/>
                  <a:pt x="12322" y="4656"/>
                  <a:pt x="12322" y="4656"/>
                </a:cubicBezTo>
                <a:cubicBezTo>
                  <a:pt x="12311" y="4659"/>
                  <a:pt x="12311" y="4659"/>
                  <a:pt x="12311" y="4659"/>
                </a:cubicBezTo>
                <a:cubicBezTo>
                  <a:pt x="12311" y="4659"/>
                  <a:pt x="12297" y="4644"/>
                  <a:pt x="12289" y="4646"/>
                </a:cubicBezTo>
                <a:cubicBezTo>
                  <a:pt x="12280" y="4647"/>
                  <a:pt x="12261" y="4676"/>
                  <a:pt x="12261" y="4676"/>
                </a:cubicBezTo>
                <a:cubicBezTo>
                  <a:pt x="12296" y="4681"/>
                  <a:pt x="12296" y="4681"/>
                  <a:pt x="12296" y="4681"/>
                </a:cubicBezTo>
                <a:lnTo>
                  <a:pt x="12297" y="4695"/>
                </a:lnTo>
                <a:close/>
                <a:moveTo>
                  <a:pt x="12293" y="3762"/>
                </a:moveTo>
                <a:cubicBezTo>
                  <a:pt x="12313" y="3743"/>
                  <a:pt x="12313" y="3743"/>
                  <a:pt x="12313" y="3743"/>
                </a:cubicBezTo>
                <a:cubicBezTo>
                  <a:pt x="12313" y="3743"/>
                  <a:pt x="12310" y="3728"/>
                  <a:pt x="12318" y="3728"/>
                </a:cubicBezTo>
                <a:cubicBezTo>
                  <a:pt x="12327" y="3728"/>
                  <a:pt x="12337" y="3725"/>
                  <a:pt x="12344" y="3720"/>
                </a:cubicBezTo>
                <a:cubicBezTo>
                  <a:pt x="12351" y="3715"/>
                  <a:pt x="12344" y="3699"/>
                  <a:pt x="12353" y="3689"/>
                </a:cubicBezTo>
                <a:cubicBezTo>
                  <a:pt x="12361" y="3679"/>
                  <a:pt x="12409" y="3664"/>
                  <a:pt x="12409" y="3653"/>
                </a:cubicBezTo>
                <a:cubicBezTo>
                  <a:pt x="12409" y="3641"/>
                  <a:pt x="12399" y="3630"/>
                  <a:pt x="12397" y="3620"/>
                </a:cubicBezTo>
                <a:cubicBezTo>
                  <a:pt x="12396" y="3610"/>
                  <a:pt x="12399" y="3589"/>
                  <a:pt x="12399" y="3589"/>
                </a:cubicBezTo>
                <a:cubicBezTo>
                  <a:pt x="12389" y="3574"/>
                  <a:pt x="12389" y="3574"/>
                  <a:pt x="12389" y="3574"/>
                </a:cubicBezTo>
                <a:cubicBezTo>
                  <a:pt x="12385" y="3591"/>
                  <a:pt x="12385" y="3591"/>
                  <a:pt x="12385" y="3591"/>
                </a:cubicBezTo>
                <a:cubicBezTo>
                  <a:pt x="12385" y="3591"/>
                  <a:pt x="12366" y="3607"/>
                  <a:pt x="12373" y="3622"/>
                </a:cubicBezTo>
                <a:cubicBezTo>
                  <a:pt x="12380" y="3636"/>
                  <a:pt x="12397" y="3636"/>
                  <a:pt x="12387" y="3643"/>
                </a:cubicBezTo>
                <a:cubicBezTo>
                  <a:pt x="12377" y="3649"/>
                  <a:pt x="12361" y="3658"/>
                  <a:pt x="12361" y="3658"/>
                </a:cubicBezTo>
                <a:cubicBezTo>
                  <a:pt x="12354" y="3676"/>
                  <a:pt x="12354" y="3676"/>
                  <a:pt x="12354" y="3676"/>
                </a:cubicBezTo>
                <a:cubicBezTo>
                  <a:pt x="12339" y="3685"/>
                  <a:pt x="12339" y="3685"/>
                  <a:pt x="12339" y="3685"/>
                </a:cubicBezTo>
                <a:cubicBezTo>
                  <a:pt x="12339" y="3685"/>
                  <a:pt x="12344" y="3694"/>
                  <a:pt x="12337" y="3700"/>
                </a:cubicBezTo>
                <a:cubicBezTo>
                  <a:pt x="12330" y="3707"/>
                  <a:pt x="12305" y="3718"/>
                  <a:pt x="12305" y="3718"/>
                </a:cubicBezTo>
                <a:cubicBezTo>
                  <a:pt x="12305" y="3718"/>
                  <a:pt x="12282" y="3754"/>
                  <a:pt x="12293" y="3762"/>
                </a:cubicBezTo>
                <a:close/>
                <a:moveTo>
                  <a:pt x="12382" y="3239"/>
                </a:moveTo>
                <a:cubicBezTo>
                  <a:pt x="12374" y="3251"/>
                  <a:pt x="12376" y="3243"/>
                  <a:pt x="12383" y="3255"/>
                </a:cubicBezTo>
                <a:cubicBezTo>
                  <a:pt x="12386" y="3260"/>
                  <a:pt x="12390" y="3269"/>
                  <a:pt x="12392" y="3275"/>
                </a:cubicBezTo>
                <a:cubicBezTo>
                  <a:pt x="12394" y="3281"/>
                  <a:pt x="12395" y="3288"/>
                  <a:pt x="12394" y="3295"/>
                </a:cubicBezTo>
                <a:cubicBezTo>
                  <a:pt x="12393" y="3302"/>
                  <a:pt x="12385" y="3308"/>
                  <a:pt x="12385" y="3313"/>
                </a:cubicBezTo>
                <a:cubicBezTo>
                  <a:pt x="12385" y="3321"/>
                  <a:pt x="12396" y="3323"/>
                  <a:pt x="12392" y="3331"/>
                </a:cubicBezTo>
                <a:cubicBezTo>
                  <a:pt x="12390" y="3336"/>
                  <a:pt x="12378" y="3339"/>
                  <a:pt x="12374" y="3338"/>
                </a:cubicBezTo>
                <a:cubicBezTo>
                  <a:pt x="12374" y="3332"/>
                  <a:pt x="12372" y="3326"/>
                  <a:pt x="12367" y="3324"/>
                </a:cubicBezTo>
                <a:cubicBezTo>
                  <a:pt x="12366" y="3347"/>
                  <a:pt x="12369" y="3361"/>
                  <a:pt x="12385" y="3380"/>
                </a:cubicBezTo>
                <a:cubicBezTo>
                  <a:pt x="12397" y="3393"/>
                  <a:pt x="12409" y="3403"/>
                  <a:pt x="12417" y="3419"/>
                </a:cubicBezTo>
                <a:cubicBezTo>
                  <a:pt x="12422" y="3431"/>
                  <a:pt x="12438" y="3461"/>
                  <a:pt x="12453" y="3460"/>
                </a:cubicBezTo>
                <a:cubicBezTo>
                  <a:pt x="12463" y="3459"/>
                  <a:pt x="12467" y="3446"/>
                  <a:pt x="12478" y="3445"/>
                </a:cubicBezTo>
                <a:cubicBezTo>
                  <a:pt x="12489" y="3444"/>
                  <a:pt x="12494" y="3454"/>
                  <a:pt x="12501" y="3460"/>
                </a:cubicBezTo>
                <a:cubicBezTo>
                  <a:pt x="12523" y="3479"/>
                  <a:pt x="12522" y="3461"/>
                  <a:pt x="12512" y="3444"/>
                </a:cubicBezTo>
                <a:cubicBezTo>
                  <a:pt x="12530" y="3442"/>
                  <a:pt x="12537" y="3451"/>
                  <a:pt x="12541" y="3465"/>
                </a:cubicBezTo>
                <a:cubicBezTo>
                  <a:pt x="12544" y="3477"/>
                  <a:pt x="12554" y="3489"/>
                  <a:pt x="12568" y="3495"/>
                </a:cubicBezTo>
                <a:cubicBezTo>
                  <a:pt x="12593" y="3508"/>
                  <a:pt x="12595" y="3447"/>
                  <a:pt x="12564" y="3450"/>
                </a:cubicBezTo>
                <a:cubicBezTo>
                  <a:pt x="12563" y="3444"/>
                  <a:pt x="12568" y="3442"/>
                  <a:pt x="12570" y="3437"/>
                </a:cubicBezTo>
                <a:cubicBezTo>
                  <a:pt x="12558" y="3436"/>
                  <a:pt x="12554" y="3422"/>
                  <a:pt x="12541" y="3426"/>
                </a:cubicBezTo>
                <a:cubicBezTo>
                  <a:pt x="12533" y="3443"/>
                  <a:pt x="12518" y="3422"/>
                  <a:pt x="12506" y="3422"/>
                </a:cubicBezTo>
                <a:cubicBezTo>
                  <a:pt x="12490" y="3421"/>
                  <a:pt x="12483" y="3445"/>
                  <a:pt x="12470" y="3425"/>
                </a:cubicBezTo>
                <a:cubicBezTo>
                  <a:pt x="12463" y="3414"/>
                  <a:pt x="12466" y="3399"/>
                  <a:pt x="12466" y="3387"/>
                </a:cubicBezTo>
                <a:cubicBezTo>
                  <a:pt x="12466" y="3375"/>
                  <a:pt x="12462" y="3356"/>
                  <a:pt x="12467" y="3345"/>
                </a:cubicBezTo>
                <a:cubicBezTo>
                  <a:pt x="12474" y="3329"/>
                  <a:pt x="12485" y="3334"/>
                  <a:pt x="12484" y="3314"/>
                </a:cubicBezTo>
                <a:cubicBezTo>
                  <a:pt x="12484" y="3300"/>
                  <a:pt x="12473" y="3291"/>
                  <a:pt x="12475" y="3279"/>
                </a:cubicBezTo>
                <a:cubicBezTo>
                  <a:pt x="12476" y="3266"/>
                  <a:pt x="12484" y="3250"/>
                  <a:pt x="12480" y="3236"/>
                </a:cubicBezTo>
                <a:cubicBezTo>
                  <a:pt x="12477" y="3230"/>
                  <a:pt x="12470" y="3227"/>
                  <a:pt x="12467" y="3221"/>
                </a:cubicBezTo>
                <a:cubicBezTo>
                  <a:pt x="12464" y="3215"/>
                  <a:pt x="12467" y="3208"/>
                  <a:pt x="12466" y="3202"/>
                </a:cubicBezTo>
                <a:cubicBezTo>
                  <a:pt x="12465" y="3197"/>
                  <a:pt x="12463" y="3186"/>
                  <a:pt x="12454" y="3186"/>
                </a:cubicBezTo>
                <a:cubicBezTo>
                  <a:pt x="12449" y="3187"/>
                  <a:pt x="12447" y="3195"/>
                  <a:pt x="12444" y="3198"/>
                </a:cubicBezTo>
                <a:cubicBezTo>
                  <a:pt x="12427" y="3212"/>
                  <a:pt x="12424" y="3195"/>
                  <a:pt x="12408" y="3196"/>
                </a:cubicBezTo>
                <a:cubicBezTo>
                  <a:pt x="12399" y="3199"/>
                  <a:pt x="12399" y="3199"/>
                  <a:pt x="12399" y="3199"/>
                </a:cubicBezTo>
                <a:cubicBezTo>
                  <a:pt x="12396" y="3206"/>
                  <a:pt x="12399" y="3213"/>
                  <a:pt x="12397" y="3220"/>
                </a:cubicBezTo>
                <a:cubicBezTo>
                  <a:pt x="12395" y="3227"/>
                  <a:pt x="12386" y="3233"/>
                  <a:pt x="12382" y="3239"/>
                </a:cubicBezTo>
                <a:close/>
                <a:moveTo>
                  <a:pt x="12457" y="3879"/>
                </a:moveTo>
                <a:cubicBezTo>
                  <a:pt x="12469" y="3886"/>
                  <a:pt x="12469" y="3886"/>
                  <a:pt x="12469" y="3886"/>
                </a:cubicBezTo>
                <a:cubicBezTo>
                  <a:pt x="12481" y="3868"/>
                  <a:pt x="12481" y="3868"/>
                  <a:pt x="12481" y="3868"/>
                </a:cubicBezTo>
                <a:cubicBezTo>
                  <a:pt x="12464" y="3858"/>
                  <a:pt x="12464" y="3858"/>
                  <a:pt x="12464" y="3858"/>
                </a:cubicBezTo>
                <a:lnTo>
                  <a:pt x="12457" y="3879"/>
                </a:lnTo>
                <a:close/>
                <a:moveTo>
                  <a:pt x="12603" y="3523"/>
                </a:moveTo>
                <a:cubicBezTo>
                  <a:pt x="12594" y="3543"/>
                  <a:pt x="12627" y="3558"/>
                  <a:pt x="12627" y="3558"/>
                </a:cubicBezTo>
                <a:cubicBezTo>
                  <a:pt x="12652" y="3571"/>
                  <a:pt x="12652" y="3571"/>
                  <a:pt x="12652" y="3571"/>
                </a:cubicBezTo>
                <a:cubicBezTo>
                  <a:pt x="12652" y="3587"/>
                  <a:pt x="12628" y="3579"/>
                  <a:pt x="12628" y="3579"/>
                </a:cubicBezTo>
                <a:cubicBezTo>
                  <a:pt x="12671" y="3613"/>
                  <a:pt x="12671" y="3613"/>
                  <a:pt x="12671" y="3613"/>
                </a:cubicBezTo>
                <a:cubicBezTo>
                  <a:pt x="12673" y="3599"/>
                  <a:pt x="12673" y="3599"/>
                  <a:pt x="12673" y="3599"/>
                </a:cubicBezTo>
                <a:cubicBezTo>
                  <a:pt x="12690" y="3604"/>
                  <a:pt x="12690" y="3604"/>
                  <a:pt x="12690" y="3604"/>
                </a:cubicBezTo>
                <a:cubicBezTo>
                  <a:pt x="12676" y="3581"/>
                  <a:pt x="12676" y="3581"/>
                  <a:pt x="12676" y="3581"/>
                </a:cubicBezTo>
                <a:cubicBezTo>
                  <a:pt x="12676" y="3581"/>
                  <a:pt x="12673" y="3556"/>
                  <a:pt x="12661" y="3543"/>
                </a:cubicBezTo>
                <a:cubicBezTo>
                  <a:pt x="12649" y="3530"/>
                  <a:pt x="12610" y="3507"/>
                  <a:pt x="12603" y="3523"/>
                </a:cubicBezTo>
                <a:close/>
                <a:moveTo>
                  <a:pt x="12473" y="3501"/>
                </a:moveTo>
                <a:cubicBezTo>
                  <a:pt x="12473" y="3501"/>
                  <a:pt x="12471" y="3481"/>
                  <a:pt x="12464" y="3474"/>
                </a:cubicBezTo>
                <a:cubicBezTo>
                  <a:pt x="12457" y="3468"/>
                  <a:pt x="12428" y="3471"/>
                  <a:pt x="12428" y="3471"/>
                </a:cubicBezTo>
                <a:cubicBezTo>
                  <a:pt x="12449" y="3499"/>
                  <a:pt x="12449" y="3499"/>
                  <a:pt x="12449" y="3499"/>
                </a:cubicBezTo>
                <a:cubicBezTo>
                  <a:pt x="12462" y="3543"/>
                  <a:pt x="12462" y="3543"/>
                  <a:pt x="12462" y="3543"/>
                </a:cubicBezTo>
                <a:cubicBezTo>
                  <a:pt x="12462" y="3543"/>
                  <a:pt x="12474" y="3533"/>
                  <a:pt x="12479" y="3525"/>
                </a:cubicBezTo>
                <a:cubicBezTo>
                  <a:pt x="12485" y="3517"/>
                  <a:pt x="12473" y="3501"/>
                  <a:pt x="12473" y="3501"/>
                </a:cubicBezTo>
                <a:close/>
                <a:moveTo>
                  <a:pt x="12600" y="3631"/>
                </a:moveTo>
                <a:cubicBezTo>
                  <a:pt x="12607" y="3685"/>
                  <a:pt x="12607" y="3685"/>
                  <a:pt x="12607" y="3685"/>
                </a:cubicBezTo>
                <a:cubicBezTo>
                  <a:pt x="12615" y="3635"/>
                  <a:pt x="12615" y="3635"/>
                  <a:pt x="12615" y="3635"/>
                </a:cubicBezTo>
                <a:cubicBezTo>
                  <a:pt x="12598" y="3600"/>
                  <a:pt x="12598" y="3600"/>
                  <a:pt x="12598" y="3600"/>
                </a:cubicBezTo>
                <a:cubicBezTo>
                  <a:pt x="12583" y="3600"/>
                  <a:pt x="12583" y="3600"/>
                  <a:pt x="12583" y="3600"/>
                </a:cubicBezTo>
                <a:lnTo>
                  <a:pt x="12600" y="3631"/>
                </a:lnTo>
                <a:close/>
                <a:moveTo>
                  <a:pt x="11367" y="4106"/>
                </a:moveTo>
                <a:cubicBezTo>
                  <a:pt x="11359" y="4106"/>
                  <a:pt x="11349" y="4119"/>
                  <a:pt x="11361" y="4127"/>
                </a:cubicBezTo>
                <a:cubicBezTo>
                  <a:pt x="11373" y="4135"/>
                  <a:pt x="11377" y="4165"/>
                  <a:pt x="11389" y="4165"/>
                </a:cubicBezTo>
                <a:cubicBezTo>
                  <a:pt x="11396" y="4165"/>
                  <a:pt x="11397" y="4134"/>
                  <a:pt x="11393" y="4130"/>
                </a:cubicBezTo>
                <a:cubicBezTo>
                  <a:pt x="11389" y="4126"/>
                  <a:pt x="11375" y="4106"/>
                  <a:pt x="11367" y="4106"/>
                </a:cubicBezTo>
                <a:close/>
                <a:moveTo>
                  <a:pt x="12889" y="4333"/>
                </a:moveTo>
                <a:cubicBezTo>
                  <a:pt x="12873" y="4329"/>
                  <a:pt x="12863" y="4339"/>
                  <a:pt x="12852" y="4344"/>
                </a:cubicBezTo>
                <a:cubicBezTo>
                  <a:pt x="12846" y="4346"/>
                  <a:pt x="12838" y="4342"/>
                  <a:pt x="12834" y="4345"/>
                </a:cubicBezTo>
                <a:cubicBezTo>
                  <a:pt x="12821" y="4353"/>
                  <a:pt x="12817" y="4369"/>
                  <a:pt x="12821" y="4372"/>
                </a:cubicBezTo>
                <a:cubicBezTo>
                  <a:pt x="12828" y="4378"/>
                  <a:pt x="12835" y="4364"/>
                  <a:pt x="12835" y="4364"/>
                </a:cubicBezTo>
                <a:cubicBezTo>
                  <a:pt x="12835" y="4364"/>
                  <a:pt x="12835" y="4380"/>
                  <a:pt x="12846" y="4382"/>
                </a:cubicBezTo>
                <a:cubicBezTo>
                  <a:pt x="12857" y="4383"/>
                  <a:pt x="12859" y="4363"/>
                  <a:pt x="12859" y="4363"/>
                </a:cubicBezTo>
                <a:cubicBezTo>
                  <a:pt x="12859" y="4363"/>
                  <a:pt x="12867" y="4374"/>
                  <a:pt x="12874" y="4374"/>
                </a:cubicBezTo>
                <a:cubicBezTo>
                  <a:pt x="12881" y="4374"/>
                  <a:pt x="12899" y="4359"/>
                  <a:pt x="12899" y="4359"/>
                </a:cubicBezTo>
                <a:cubicBezTo>
                  <a:pt x="12909" y="4394"/>
                  <a:pt x="12909" y="4394"/>
                  <a:pt x="12909" y="4394"/>
                </a:cubicBezTo>
                <a:cubicBezTo>
                  <a:pt x="12928" y="4380"/>
                  <a:pt x="12928" y="4380"/>
                  <a:pt x="12928" y="4380"/>
                </a:cubicBezTo>
                <a:cubicBezTo>
                  <a:pt x="12950" y="4404"/>
                  <a:pt x="12950" y="4404"/>
                  <a:pt x="12950" y="4404"/>
                </a:cubicBezTo>
                <a:cubicBezTo>
                  <a:pt x="12955" y="4387"/>
                  <a:pt x="12955" y="4387"/>
                  <a:pt x="12955" y="4387"/>
                </a:cubicBezTo>
                <a:cubicBezTo>
                  <a:pt x="12941" y="4375"/>
                  <a:pt x="12941" y="4375"/>
                  <a:pt x="12941" y="4375"/>
                </a:cubicBezTo>
                <a:cubicBezTo>
                  <a:pt x="12942" y="4364"/>
                  <a:pt x="12942" y="4364"/>
                  <a:pt x="12942" y="4364"/>
                </a:cubicBezTo>
                <a:cubicBezTo>
                  <a:pt x="12942" y="4364"/>
                  <a:pt x="12936" y="4343"/>
                  <a:pt x="12889" y="4333"/>
                </a:cubicBezTo>
                <a:close/>
                <a:moveTo>
                  <a:pt x="14187" y="4617"/>
                </a:moveTo>
                <a:cubicBezTo>
                  <a:pt x="14165" y="4620"/>
                  <a:pt x="14165" y="4620"/>
                  <a:pt x="14165" y="4620"/>
                </a:cubicBezTo>
                <a:cubicBezTo>
                  <a:pt x="14165" y="4634"/>
                  <a:pt x="14165" y="4634"/>
                  <a:pt x="14165" y="4634"/>
                </a:cubicBezTo>
                <a:cubicBezTo>
                  <a:pt x="14178" y="4639"/>
                  <a:pt x="14178" y="4639"/>
                  <a:pt x="14178" y="4639"/>
                </a:cubicBezTo>
                <a:lnTo>
                  <a:pt x="14187" y="4617"/>
                </a:lnTo>
                <a:close/>
                <a:moveTo>
                  <a:pt x="13173" y="4238"/>
                </a:moveTo>
                <a:cubicBezTo>
                  <a:pt x="13192" y="4247"/>
                  <a:pt x="13200" y="4238"/>
                  <a:pt x="13185" y="4231"/>
                </a:cubicBezTo>
                <a:cubicBezTo>
                  <a:pt x="13171" y="4225"/>
                  <a:pt x="13165" y="4234"/>
                  <a:pt x="13173" y="4238"/>
                </a:cubicBezTo>
                <a:close/>
                <a:moveTo>
                  <a:pt x="14186" y="4564"/>
                </a:moveTo>
                <a:cubicBezTo>
                  <a:pt x="14174" y="4550"/>
                  <a:pt x="14174" y="4550"/>
                  <a:pt x="14174" y="4550"/>
                </a:cubicBezTo>
                <a:cubicBezTo>
                  <a:pt x="14167" y="4566"/>
                  <a:pt x="14167" y="4566"/>
                  <a:pt x="14167" y="4566"/>
                </a:cubicBezTo>
                <a:cubicBezTo>
                  <a:pt x="14180" y="4582"/>
                  <a:pt x="14180" y="4582"/>
                  <a:pt x="14180" y="4582"/>
                </a:cubicBezTo>
                <a:lnTo>
                  <a:pt x="14186" y="4564"/>
                </a:lnTo>
                <a:close/>
                <a:moveTo>
                  <a:pt x="13241" y="4291"/>
                </a:moveTo>
                <a:cubicBezTo>
                  <a:pt x="13241" y="4291"/>
                  <a:pt x="13217" y="4281"/>
                  <a:pt x="13212" y="4280"/>
                </a:cubicBezTo>
                <a:cubicBezTo>
                  <a:pt x="13208" y="4279"/>
                  <a:pt x="13179" y="4285"/>
                  <a:pt x="13179" y="4285"/>
                </a:cubicBezTo>
                <a:cubicBezTo>
                  <a:pt x="13179" y="4285"/>
                  <a:pt x="13195" y="4298"/>
                  <a:pt x="13205" y="4298"/>
                </a:cubicBezTo>
                <a:cubicBezTo>
                  <a:pt x="13214" y="4298"/>
                  <a:pt x="13241" y="4291"/>
                  <a:pt x="13241" y="4291"/>
                </a:cubicBezTo>
                <a:close/>
                <a:moveTo>
                  <a:pt x="14072" y="4509"/>
                </a:moveTo>
                <a:cubicBezTo>
                  <a:pt x="14089" y="4541"/>
                  <a:pt x="14089" y="4541"/>
                  <a:pt x="14089" y="4541"/>
                </a:cubicBezTo>
                <a:cubicBezTo>
                  <a:pt x="14132" y="4584"/>
                  <a:pt x="14132" y="4584"/>
                  <a:pt x="14132" y="4584"/>
                </a:cubicBezTo>
                <a:cubicBezTo>
                  <a:pt x="14130" y="4533"/>
                  <a:pt x="14130" y="4533"/>
                  <a:pt x="14130" y="4533"/>
                </a:cubicBezTo>
                <a:cubicBezTo>
                  <a:pt x="14089" y="4486"/>
                  <a:pt x="14089" y="4486"/>
                  <a:pt x="14089" y="4486"/>
                </a:cubicBezTo>
                <a:cubicBezTo>
                  <a:pt x="14089" y="4486"/>
                  <a:pt x="14085" y="4461"/>
                  <a:pt x="14066" y="4469"/>
                </a:cubicBezTo>
                <a:cubicBezTo>
                  <a:pt x="14055" y="4474"/>
                  <a:pt x="14061" y="4490"/>
                  <a:pt x="14061" y="4490"/>
                </a:cubicBezTo>
                <a:lnTo>
                  <a:pt x="14072" y="4509"/>
                </a:lnTo>
                <a:close/>
                <a:moveTo>
                  <a:pt x="14665" y="6212"/>
                </a:moveTo>
                <a:cubicBezTo>
                  <a:pt x="14657" y="6204"/>
                  <a:pt x="14647" y="6222"/>
                  <a:pt x="14647" y="6222"/>
                </a:cubicBezTo>
                <a:cubicBezTo>
                  <a:pt x="14647" y="6222"/>
                  <a:pt x="14641" y="6222"/>
                  <a:pt x="14632" y="6220"/>
                </a:cubicBezTo>
                <a:cubicBezTo>
                  <a:pt x="14624" y="6217"/>
                  <a:pt x="14606" y="6231"/>
                  <a:pt x="14594" y="6228"/>
                </a:cubicBezTo>
                <a:cubicBezTo>
                  <a:pt x="14582" y="6225"/>
                  <a:pt x="14587" y="6181"/>
                  <a:pt x="14587" y="6181"/>
                </a:cubicBezTo>
                <a:cubicBezTo>
                  <a:pt x="14603" y="6156"/>
                  <a:pt x="14603" y="6156"/>
                  <a:pt x="14603" y="6156"/>
                </a:cubicBezTo>
                <a:cubicBezTo>
                  <a:pt x="14603" y="6156"/>
                  <a:pt x="14603" y="6138"/>
                  <a:pt x="14593" y="6139"/>
                </a:cubicBezTo>
                <a:cubicBezTo>
                  <a:pt x="14582" y="6139"/>
                  <a:pt x="14582" y="6155"/>
                  <a:pt x="14582" y="6165"/>
                </a:cubicBezTo>
                <a:cubicBezTo>
                  <a:pt x="14581" y="6174"/>
                  <a:pt x="14569" y="6182"/>
                  <a:pt x="14569" y="6182"/>
                </a:cubicBezTo>
                <a:cubicBezTo>
                  <a:pt x="14566" y="6162"/>
                  <a:pt x="14566" y="6162"/>
                  <a:pt x="14566" y="6162"/>
                </a:cubicBezTo>
                <a:cubicBezTo>
                  <a:pt x="14552" y="6149"/>
                  <a:pt x="14552" y="6149"/>
                  <a:pt x="14552" y="6149"/>
                </a:cubicBezTo>
                <a:cubicBezTo>
                  <a:pt x="14552" y="6149"/>
                  <a:pt x="14576" y="6118"/>
                  <a:pt x="14576" y="6098"/>
                </a:cubicBezTo>
                <a:cubicBezTo>
                  <a:pt x="14577" y="6078"/>
                  <a:pt x="14543" y="6077"/>
                  <a:pt x="14543" y="6077"/>
                </a:cubicBezTo>
                <a:cubicBezTo>
                  <a:pt x="14546" y="6063"/>
                  <a:pt x="14546" y="6063"/>
                  <a:pt x="14546" y="6063"/>
                </a:cubicBezTo>
                <a:cubicBezTo>
                  <a:pt x="14533" y="6061"/>
                  <a:pt x="14533" y="6061"/>
                  <a:pt x="14533" y="6061"/>
                </a:cubicBezTo>
                <a:cubicBezTo>
                  <a:pt x="14518" y="6047"/>
                  <a:pt x="14518" y="6047"/>
                  <a:pt x="14518" y="6047"/>
                </a:cubicBezTo>
                <a:cubicBezTo>
                  <a:pt x="14525" y="6036"/>
                  <a:pt x="14525" y="6036"/>
                  <a:pt x="14525" y="6036"/>
                </a:cubicBezTo>
                <a:cubicBezTo>
                  <a:pt x="14505" y="6048"/>
                  <a:pt x="14505" y="6048"/>
                  <a:pt x="14505" y="6048"/>
                </a:cubicBezTo>
                <a:cubicBezTo>
                  <a:pt x="14518" y="6071"/>
                  <a:pt x="14518" y="6071"/>
                  <a:pt x="14518" y="6071"/>
                </a:cubicBezTo>
                <a:cubicBezTo>
                  <a:pt x="14512" y="6096"/>
                  <a:pt x="14512" y="6096"/>
                  <a:pt x="14512" y="6096"/>
                </a:cubicBezTo>
                <a:cubicBezTo>
                  <a:pt x="14527" y="6102"/>
                  <a:pt x="14527" y="6102"/>
                  <a:pt x="14527" y="6102"/>
                </a:cubicBezTo>
                <a:cubicBezTo>
                  <a:pt x="14518" y="6106"/>
                  <a:pt x="14518" y="6106"/>
                  <a:pt x="14518" y="6106"/>
                </a:cubicBezTo>
                <a:cubicBezTo>
                  <a:pt x="14522" y="6120"/>
                  <a:pt x="14522" y="6120"/>
                  <a:pt x="14522" y="6120"/>
                </a:cubicBezTo>
                <a:cubicBezTo>
                  <a:pt x="14538" y="6125"/>
                  <a:pt x="14538" y="6125"/>
                  <a:pt x="14538" y="6125"/>
                </a:cubicBezTo>
                <a:cubicBezTo>
                  <a:pt x="14522" y="6133"/>
                  <a:pt x="14522" y="6133"/>
                  <a:pt x="14522" y="6133"/>
                </a:cubicBezTo>
                <a:cubicBezTo>
                  <a:pt x="14531" y="6138"/>
                  <a:pt x="14531" y="6138"/>
                  <a:pt x="14531" y="6138"/>
                </a:cubicBezTo>
                <a:cubicBezTo>
                  <a:pt x="14531" y="6138"/>
                  <a:pt x="14528" y="6152"/>
                  <a:pt x="14528" y="6158"/>
                </a:cubicBezTo>
                <a:cubicBezTo>
                  <a:pt x="14528" y="6165"/>
                  <a:pt x="14541" y="6172"/>
                  <a:pt x="14541" y="6172"/>
                </a:cubicBezTo>
                <a:cubicBezTo>
                  <a:pt x="14528" y="6174"/>
                  <a:pt x="14528" y="6174"/>
                  <a:pt x="14528" y="6174"/>
                </a:cubicBezTo>
                <a:cubicBezTo>
                  <a:pt x="14520" y="6184"/>
                  <a:pt x="14520" y="6184"/>
                  <a:pt x="14520" y="6184"/>
                </a:cubicBezTo>
                <a:cubicBezTo>
                  <a:pt x="14531" y="6190"/>
                  <a:pt x="14531" y="6190"/>
                  <a:pt x="14531" y="6190"/>
                </a:cubicBezTo>
                <a:cubicBezTo>
                  <a:pt x="14531" y="6190"/>
                  <a:pt x="14510" y="6210"/>
                  <a:pt x="14508" y="6221"/>
                </a:cubicBezTo>
                <a:cubicBezTo>
                  <a:pt x="14507" y="6232"/>
                  <a:pt x="14517" y="6235"/>
                  <a:pt x="14517" y="6235"/>
                </a:cubicBezTo>
                <a:cubicBezTo>
                  <a:pt x="14517" y="6235"/>
                  <a:pt x="14495" y="6239"/>
                  <a:pt x="14482" y="6245"/>
                </a:cubicBezTo>
                <a:cubicBezTo>
                  <a:pt x="14469" y="6250"/>
                  <a:pt x="14472" y="6253"/>
                  <a:pt x="14456" y="6265"/>
                </a:cubicBezTo>
                <a:cubicBezTo>
                  <a:pt x="14439" y="6278"/>
                  <a:pt x="14425" y="6279"/>
                  <a:pt x="14404" y="6291"/>
                </a:cubicBezTo>
                <a:cubicBezTo>
                  <a:pt x="14383" y="6304"/>
                  <a:pt x="14402" y="6338"/>
                  <a:pt x="14402" y="6338"/>
                </a:cubicBezTo>
                <a:cubicBezTo>
                  <a:pt x="14402" y="6338"/>
                  <a:pt x="14425" y="6336"/>
                  <a:pt x="14435" y="6338"/>
                </a:cubicBezTo>
                <a:cubicBezTo>
                  <a:pt x="14445" y="6340"/>
                  <a:pt x="14435" y="6359"/>
                  <a:pt x="14435" y="6374"/>
                </a:cubicBezTo>
                <a:cubicBezTo>
                  <a:pt x="14436" y="6390"/>
                  <a:pt x="14419" y="6389"/>
                  <a:pt x="14402" y="6395"/>
                </a:cubicBezTo>
                <a:cubicBezTo>
                  <a:pt x="14385" y="6401"/>
                  <a:pt x="14393" y="6406"/>
                  <a:pt x="14393" y="6406"/>
                </a:cubicBezTo>
                <a:cubicBezTo>
                  <a:pt x="14383" y="6417"/>
                  <a:pt x="14383" y="6417"/>
                  <a:pt x="14383" y="6417"/>
                </a:cubicBezTo>
                <a:cubicBezTo>
                  <a:pt x="14383" y="6417"/>
                  <a:pt x="14401" y="6430"/>
                  <a:pt x="14415" y="6426"/>
                </a:cubicBezTo>
                <a:cubicBezTo>
                  <a:pt x="14428" y="6421"/>
                  <a:pt x="14459" y="6387"/>
                  <a:pt x="14470" y="6376"/>
                </a:cubicBezTo>
                <a:cubicBezTo>
                  <a:pt x="14481" y="6365"/>
                  <a:pt x="14508" y="6357"/>
                  <a:pt x="14513" y="6357"/>
                </a:cubicBezTo>
                <a:cubicBezTo>
                  <a:pt x="14518" y="6356"/>
                  <a:pt x="14523" y="6344"/>
                  <a:pt x="14523" y="6344"/>
                </a:cubicBezTo>
                <a:cubicBezTo>
                  <a:pt x="14523" y="6344"/>
                  <a:pt x="14530" y="6341"/>
                  <a:pt x="14541" y="6337"/>
                </a:cubicBezTo>
                <a:cubicBezTo>
                  <a:pt x="14552" y="6332"/>
                  <a:pt x="14541" y="6313"/>
                  <a:pt x="14541" y="6313"/>
                </a:cubicBezTo>
                <a:cubicBezTo>
                  <a:pt x="14541" y="6313"/>
                  <a:pt x="14551" y="6305"/>
                  <a:pt x="14564" y="6299"/>
                </a:cubicBezTo>
                <a:cubicBezTo>
                  <a:pt x="14578" y="6293"/>
                  <a:pt x="14588" y="6305"/>
                  <a:pt x="14600" y="6302"/>
                </a:cubicBezTo>
                <a:cubicBezTo>
                  <a:pt x="14612" y="6300"/>
                  <a:pt x="14608" y="6276"/>
                  <a:pt x="14608" y="6276"/>
                </a:cubicBezTo>
                <a:cubicBezTo>
                  <a:pt x="14608" y="6276"/>
                  <a:pt x="14619" y="6273"/>
                  <a:pt x="14631" y="6272"/>
                </a:cubicBezTo>
                <a:cubicBezTo>
                  <a:pt x="14642" y="6271"/>
                  <a:pt x="14634" y="6257"/>
                  <a:pt x="14641" y="6251"/>
                </a:cubicBezTo>
                <a:cubicBezTo>
                  <a:pt x="14649" y="6246"/>
                  <a:pt x="14657" y="6249"/>
                  <a:pt x="14667" y="6241"/>
                </a:cubicBezTo>
                <a:cubicBezTo>
                  <a:pt x="14677" y="6233"/>
                  <a:pt x="14673" y="6219"/>
                  <a:pt x="14665" y="6212"/>
                </a:cubicBezTo>
                <a:close/>
                <a:moveTo>
                  <a:pt x="13733" y="4291"/>
                </a:moveTo>
                <a:cubicBezTo>
                  <a:pt x="13720" y="4284"/>
                  <a:pt x="13698" y="4303"/>
                  <a:pt x="13698" y="4303"/>
                </a:cubicBezTo>
                <a:cubicBezTo>
                  <a:pt x="13717" y="4315"/>
                  <a:pt x="13717" y="4315"/>
                  <a:pt x="13717" y="4315"/>
                </a:cubicBezTo>
                <a:cubicBezTo>
                  <a:pt x="13735" y="4319"/>
                  <a:pt x="13746" y="4298"/>
                  <a:pt x="13733" y="4291"/>
                </a:cubicBezTo>
                <a:close/>
                <a:moveTo>
                  <a:pt x="14204" y="4676"/>
                </a:moveTo>
                <a:cubicBezTo>
                  <a:pt x="14229" y="4673"/>
                  <a:pt x="14229" y="4673"/>
                  <a:pt x="14229" y="4673"/>
                </a:cubicBezTo>
                <a:cubicBezTo>
                  <a:pt x="14197" y="4653"/>
                  <a:pt x="14197" y="4653"/>
                  <a:pt x="14197" y="4653"/>
                </a:cubicBezTo>
                <a:lnTo>
                  <a:pt x="14204" y="4676"/>
                </a:lnTo>
                <a:close/>
                <a:moveTo>
                  <a:pt x="13947" y="4386"/>
                </a:moveTo>
                <a:cubicBezTo>
                  <a:pt x="13953" y="4391"/>
                  <a:pt x="13973" y="4393"/>
                  <a:pt x="13978" y="4406"/>
                </a:cubicBezTo>
                <a:cubicBezTo>
                  <a:pt x="13982" y="4419"/>
                  <a:pt x="13964" y="4463"/>
                  <a:pt x="13991" y="4465"/>
                </a:cubicBezTo>
                <a:cubicBezTo>
                  <a:pt x="14006" y="4466"/>
                  <a:pt x="14014" y="4434"/>
                  <a:pt x="14001" y="4415"/>
                </a:cubicBezTo>
                <a:cubicBezTo>
                  <a:pt x="13988" y="4396"/>
                  <a:pt x="13966" y="4378"/>
                  <a:pt x="13966" y="4378"/>
                </a:cubicBezTo>
                <a:cubicBezTo>
                  <a:pt x="13957" y="4378"/>
                  <a:pt x="13957" y="4378"/>
                  <a:pt x="13957" y="4378"/>
                </a:cubicBezTo>
                <a:cubicBezTo>
                  <a:pt x="13957" y="4378"/>
                  <a:pt x="13926" y="4344"/>
                  <a:pt x="13922" y="4342"/>
                </a:cubicBezTo>
                <a:cubicBezTo>
                  <a:pt x="13918" y="4339"/>
                  <a:pt x="13910" y="4339"/>
                  <a:pt x="13910" y="4339"/>
                </a:cubicBezTo>
                <a:cubicBezTo>
                  <a:pt x="13896" y="4315"/>
                  <a:pt x="13896" y="4315"/>
                  <a:pt x="13896" y="4315"/>
                </a:cubicBezTo>
                <a:cubicBezTo>
                  <a:pt x="13888" y="4347"/>
                  <a:pt x="13888" y="4347"/>
                  <a:pt x="13888" y="4347"/>
                </a:cubicBezTo>
                <a:cubicBezTo>
                  <a:pt x="13918" y="4353"/>
                  <a:pt x="13918" y="4353"/>
                  <a:pt x="13918" y="4353"/>
                </a:cubicBezTo>
                <a:cubicBezTo>
                  <a:pt x="13918" y="4353"/>
                  <a:pt x="13941" y="4380"/>
                  <a:pt x="13947" y="4386"/>
                </a:cubicBezTo>
                <a:close/>
                <a:moveTo>
                  <a:pt x="13865" y="4544"/>
                </a:moveTo>
                <a:cubicBezTo>
                  <a:pt x="13876" y="4535"/>
                  <a:pt x="13876" y="4535"/>
                  <a:pt x="13876" y="4535"/>
                </a:cubicBezTo>
                <a:cubicBezTo>
                  <a:pt x="13876" y="4535"/>
                  <a:pt x="13888" y="4535"/>
                  <a:pt x="13901" y="4534"/>
                </a:cubicBezTo>
                <a:cubicBezTo>
                  <a:pt x="13915" y="4532"/>
                  <a:pt x="13925" y="4512"/>
                  <a:pt x="13925" y="4512"/>
                </a:cubicBezTo>
                <a:cubicBezTo>
                  <a:pt x="13944" y="4507"/>
                  <a:pt x="13944" y="4507"/>
                  <a:pt x="13944" y="4507"/>
                </a:cubicBezTo>
                <a:cubicBezTo>
                  <a:pt x="13938" y="4490"/>
                  <a:pt x="13938" y="4490"/>
                  <a:pt x="13938" y="4490"/>
                </a:cubicBezTo>
                <a:cubicBezTo>
                  <a:pt x="13956" y="4493"/>
                  <a:pt x="13956" y="4493"/>
                  <a:pt x="13956" y="4493"/>
                </a:cubicBezTo>
                <a:cubicBezTo>
                  <a:pt x="13956" y="4493"/>
                  <a:pt x="13964" y="4441"/>
                  <a:pt x="13957" y="4424"/>
                </a:cubicBezTo>
                <a:cubicBezTo>
                  <a:pt x="13950" y="4406"/>
                  <a:pt x="13919" y="4425"/>
                  <a:pt x="13910" y="4434"/>
                </a:cubicBezTo>
                <a:cubicBezTo>
                  <a:pt x="13901" y="4443"/>
                  <a:pt x="13923" y="4455"/>
                  <a:pt x="13923" y="4455"/>
                </a:cubicBezTo>
                <a:cubicBezTo>
                  <a:pt x="13925" y="4468"/>
                  <a:pt x="13925" y="4468"/>
                  <a:pt x="13925" y="4468"/>
                </a:cubicBezTo>
                <a:cubicBezTo>
                  <a:pt x="13878" y="4493"/>
                  <a:pt x="13878" y="4493"/>
                  <a:pt x="13878" y="4493"/>
                </a:cubicBezTo>
                <a:cubicBezTo>
                  <a:pt x="13878" y="4493"/>
                  <a:pt x="13854" y="4491"/>
                  <a:pt x="13838" y="4494"/>
                </a:cubicBezTo>
                <a:cubicBezTo>
                  <a:pt x="13822" y="4497"/>
                  <a:pt x="13816" y="4506"/>
                  <a:pt x="13806" y="4512"/>
                </a:cubicBezTo>
                <a:cubicBezTo>
                  <a:pt x="13796" y="4518"/>
                  <a:pt x="13790" y="4506"/>
                  <a:pt x="13784" y="4518"/>
                </a:cubicBezTo>
                <a:cubicBezTo>
                  <a:pt x="13800" y="4541"/>
                  <a:pt x="13800" y="4541"/>
                  <a:pt x="13800" y="4541"/>
                </a:cubicBezTo>
                <a:lnTo>
                  <a:pt x="13865" y="4544"/>
                </a:lnTo>
                <a:close/>
                <a:moveTo>
                  <a:pt x="12118" y="4562"/>
                </a:moveTo>
                <a:cubicBezTo>
                  <a:pt x="12113" y="4587"/>
                  <a:pt x="12134" y="4581"/>
                  <a:pt x="12134" y="4581"/>
                </a:cubicBezTo>
                <a:cubicBezTo>
                  <a:pt x="12172" y="4554"/>
                  <a:pt x="12172" y="4554"/>
                  <a:pt x="12172" y="4554"/>
                </a:cubicBezTo>
                <a:cubicBezTo>
                  <a:pt x="12169" y="4548"/>
                  <a:pt x="12169" y="4548"/>
                  <a:pt x="12169" y="4548"/>
                </a:cubicBezTo>
                <a:cubicBezTo>
                  <a:pt x="12169" y="4548"/>
                  <a:pt x="12119" y="4552"/>
                  <a:pt x="12118" y="4562"/>
                </a:cubicBezTo>
                <a:close/>
                <a:moveTo>
                  <a:pt x="14218" y="4641"/>
                </a:moveTo>
                <a:cubicBezTo>
                  <a:pt x="14216" y="4631"/>
                  <a:pt x="14216" y="4631"/>
                  <a:pt x="14216" y="4631"/>
                </a:cubicBezTo>
                <a:cubicBezTo>
                  <a:pt x="14190" y="4631"/>
                  <a:pt x="14190" y="4631"/>
                  <a:pt x="14190" y="4631"/>
                </a:cubicBezTo>
                <a:cubicBezTo>
                  <a:pt x="14191" y="4647"/>
                  <a:pt x="14191" y="4647"/>
                  <a:pt x="14191" y="4647"/>
                </a:cubicBezTo>
                <a:lnTo>
                  <a:pt x="14218" y="4641"/>
                </a:lnTo>
                <a:close/>
                <a:moveTo>
                  <a:pt x="14303" y="4652"/>
                </a:moveTo>
                <a:cubicBezTo>
                  <a:pt x="14319" y="4650"/>
                  <a:pt x="14251" y="4580"/>
                  <a:pt x="14246" y="4591"/>
                </a:cubicBezTo>
                <a:cubicBezTo>
                  <a:pt x="14240" y="4601"/>
                  <a:pt x="14295" y="4654"/>
                  <a:pt x="14303" y="4652"/>
                </a:cubicBezTo>
                <a:close/>
                <a:moveTo>
                  <a:pt x="14412" y="4765"/>
                </a:moveTo>
                <a:cubicBezTo>
                  <a:pt x="14370" y="4743"/>
                  <a:pt x="14370" y="4743"/>
                  <a:pt x="14370" y="4743"/>
                </a:cubicBezTo>
                <a:cubicBezTo>
                  <a:pt x="14403" y="4785"/>
                  <a:pt x="14403" y="4785"/>
                  <a:pt x="14403" y="4785"/>
                </a:cubicBezTo>
                <a:lnTo>
                  <a:pt x="14412" y="4765"/>
                </a:lnTo>
                <a:close/>
                <a:moveTo>
                  <a:pt x="14293" y="4692"/>
                </a:moveTo>
                <a:cubicBezTo>
                  <a:pt x="14293" y="4692"/>
                  <a:pt x="14289" y="4711"/>
                  <a:pt x="14307" y="4719"/>
                </a:cubicBezTo>
                <a:cubicBezTo>
                  <a:pt x="14333" y="4730"/>
                  <a:pt x="14348" y="4722"/>
                  <a:pt x="14348" y="4722"/>
                </a:cubicBezTo>
                <a:cubicBezTo>
                  <a:pt x="14348" y="4722"/>
                  <a:pt x="14347" y="4710"/>
                  <a:pt x="14328" y="4699"/>
                </a:cubicBezTo>
                <a:cubicBezTo>
                  <a:pt x="14310" y="4689"/>
                  <a:pt x="14293" y="4692"/>
                  <a:pt x="14293" y="4692"/>
                </a:cubicBezTo>
                <a:close/>
                <a:moveTo>
                  <a:pt x="12286" y="4345"/>
                </a:moveTo>
                <a:cubicBezTo>
                  <a:pt x="12291" y="4338"/>
                  <a:pt x="12310" y="4288"/>
                  <a:pt x="12310" y="4288"/>
                </a:cubicBezTo>
                <a:cubicBezTo>
                  <a:pt x="12310" y="4288"/>
                  <a:pt x="12292" y="4286"/>
                  <a:pt x="12289" y="4273"/>
                </a:cubicBezTo>
                <a:cubicBezTo>
                  <a:pt x="12286" y="4261"/>
                  <a:pt x="12292" y="4246"/>
                  <a:pt x="12297" y="4233"/>
                </a:cubicBezTo>
                <a:cubicBezTo>
                  <a:pt x="12303" y="4219"/>
                  <a:pt x="12325" y="4221"/>
                  <a:pt x="12338" y="4219"/>
                </a:cubicBezTo>
                <a:cubicBezTo>
                  <a:pt x="12350" y="4218"/>
                  <a:pt x="12357" y="4194"/>
                  <a:pt x="12356" y="4186"/>
                </a:cubicBezTo>
                <a:cubicBezTo>
                  <a:pt x="12354" y="4178"/>
                  <a:pt x="12334" y="4186"/>
                  <a:pt x="12334" y="4186"/>
                </a:cubicBezTo>
                <a:cubicBezTo>
                  <a:pt x="12334" y="4186"/>
                  <a:pt x="12331" y="4173"/>
                  <a:pt x="12343" y="4160"/>
                </a:cubicBezTo>
                <a:cubicBezTo>
                  <a:pt x="12356" y="4149"/>
                  <a:pt x="12383" y="4154"/>
                  <a:pt x="12394" y="4156"/>
                </a:cubicBezTo>
                <a:cubicBezTo>
                  <a:pt x="12405" y="4159"/>
                  <a:pt x="12405" y="4142"/>
                  <a:pt x="12405" y="4142"/>
                </a:cubicBezTo>
                <a:cubicBezTo>
                  <a:pt x="12379" y="4120"/>
                  <a:pt x="12379" y="4120"/>
                  <a:pt x="12379" y="4120"/>
                </a:cubicBezTo>
                <a:cubicBezTo>
                  <a:pt x="12379" y="4093"/>
                  <a:pt x="12379" y="4093"/>
                  <a:pt x="12379" y="4093"/>
                </a:cubicBezTo>
                <a:cubicBezTo>
                  <a:pt x="12379" y="4093"/>
                  <a:pt x="12360" y="4092"/>
                  <a:pt x="12360" y="4084"/>
                </a:cubicBezTo>
                <a:cubicBezTo>
                  <a:pt x="12360" y="4076"/>
                  <a:pt x="12372" y="4064"/>
                  <a:pt x="12371" y="4053"/>
                </a:cubicBezTo>
                <a:cubicBezTo>
                  <a:pt x="12370" y="4041"/>
                  <a:pt x="12337" y="4038"/>
                  <a:pt x="12337" y="4038"/>
                </a:cubicBezTo>
                <a:cubicBezTo>
                  <a:pt x="12348" y="4020"/>
                  <a:pt x="12348" y="4020"/>
                  <a:pt x="12348" y="4020"/>
                </a:cubicBezTo>
                <a:cubicBezTo>
                  <a:pt x="12337" y="4015"/>
                  <a:pt x="12337" y="4015"/>
                  <a:pt x="12337" y="4015"/>
                </a:cubicBezTo>
                <a:cubicBezTo>
                  <a:pt x="12341" y="3995"/>
                  <a:pt x="12341" y="3995"/>
                  <a:pt x="12341" y="3995"/>
                </a:cubicBezTo>
                <a:cubicBezTo>
                  <a:pt x="12333" y="3984"/>
                  <a:pt x="12333" y="3984"/>
                  <a:pt x="12333" y="3984"/>
                </a:cubicBezTo>
                <a:cubicBezTo>
                  <a:pt x="12333" y="3984"/>
                  <a:pt x="12333" y="3984"/>
                  <a:pt x="12333" y="3984"/>
                </a:cubicBezTo>
                <a:cubicBezTo>
                  <a:pt x="12332" y="3983"/>
                  <a:pt x="12332" y="3983"/>
                  <a:pt x="12332" y="3983"/>
                </a:cubicBezTo>
                <a:cubicBezTo>
                  <a:pt x="12345" y="3980"/>
                  <a:pt x="12345" y="3980"/>
                  <a:pt x="12345" y="3980"/>
                </a:cubicBezTo>
                <a:cubicBezTo>
                  <a:pt x="12336" y="3938"/>
                  <a:pt x="12336" y="3938"/>
                  <a:pt x="12336" y="3938"/>
                </a:cubicBezTo>
                <a:cubicBezTo>
                  <a:pt x="12336" y="3938"/>
                  <a:pt x="12351" y="3954"/>
                  <a:pt x="12360" y="3956"/>
                </a:cubicBezTo>
                <a:cubicBezTo>
                  <a:pt x="12370" y="3957"/>
                  <a:pt x="12385" y="3954"/>
                  <a:pt x="12385" y="3954"/>
                </a:cubicBezTo>
                <a:cubicBezTo>
                  <a:pt x="12385" y="3954"/>
                  <a:pt x="12360" y="3930"/>
                  <a:pt x="12366" y="3920"/>
                </a:cubicBezTo>
                <a:cubicBezTo>
                  <a:pt x="12371" y="3909"/>
                  <a:pt x="12402" y="3925"/>
                  <a:pt x="12402" y="3925"/>
                </a:cubicBezTo>
                <a:cubicBezTo>
                  <a:pt x="12419" y="3905"/>
                  <a:pt x="12419" y="3905"/>
                  <a:pt x="12419" y="3905"/>
                </a:cubicBezTo>
                <a:cubicBezTo>
                  <a:pt x="12402" y="3899"/>
                  <a:pt x="12402" y="3899"/>
                  <a:pt x="12402" y="3899"/>
                </a:cubicBezTo>
                <a:cubicBezTo>
                  <a:pt x="12402" y="3899"/>
                  <a:pt x="12399" y="3887"/>
                  <a:pt x="12391" y="3882"/>
                </a:cubicBezTo>
                <a:cubicBezTo>
                  <a:pt x="12383" y="3876"/>
                  <a:pt x="12351" y="3871"/>
                  <a:pt x="12351" y="3871"/>
                </a:cubicBezTo>
                <a:cubicBezTo>
                  <a:pt x="12351" y="3871"/>
                  <a:pt x="12350" y="3852"/>
                  <a:pt x="12338" y="3840"/>
                </a:cubicBezTo>
                <a:cubicBezTo>
                  <a:pt x="12325" y="3827"/>
                  <a:pt x="12312" y="3836"/>
                  <a:pt x="12312" y="3836"/>
                </a:cubicBezTo>
                <a:cubicBezTo>
                  <a:pt x="12301" y="3795"/>
                  <a:pt x="12301" y="3795"/>
                  <a:pt x="12301" y="3795"/>
                </a:cubicBezTo>
                <a:cubicBezTo>
                  <a:pt x="12297" y="3808"/>
                  <a:pt x="12297" y="3808"/>
                  <a:pt x="12297" y="3808"/>
                </a:cubicBezTo>
                <a:cubicBezTo>
                  <a:pt x="12287" y="3794"/>
                  <a:pt x="12287" y="3794"/>
                  <a:pt x="12287" y="3794"/>
                </a:cubicBezTo>
                <a:cubicBezTo>
                  <a:pt x="12281" y="3835"/>
                  <a:pt x="12281" y="3835"/>
                  <a:pt x="12281" y="3835"/>
                </a:cubicBezTo>
                <a:cubicBezTo>
                  <a:pt x="12281" y="3835"/>
                  <a:pt x="12266" y="3839"/>
                  <a:pt x="12259" y="3844"/>
                </a:cubicBezTo>
                <a:cubicBezTo>
                  <a:pt x="12252" y="3849"/>
                  <a:pt x="12251" y="3871"/>
                  <a:pt x="12251" y="3871"/>
                </a:cubicBezTo>
                <a:cubicBezTo>
                  <a:pt x="12234" y="3877"/>
                  <a:pt x="12234" y="3877"/>
                  <a:pt x="12234" y="3877"/>
                </a:cubicBezTo>
                <a:cubicBezTo>
                  <a:pt x="12241" y="3901"/>
                  <a:pt x="12241" y="3901"/>
                  <a:pt x="12241" y="3901"/>
                </a:cubicBezTo>
                <a:cubicBezTo>
                  <a:pt x="12241" y="3901"/>
                  <a:pt x="12217" y="3898"/>
                  <a:pt x="12201" y="3895"/>
                </a:cubicBezTo>
                <a:cubicBezTo>
                  <a:pt x="12186" y="3891"/>
                  <a:pt x="12185" y="3930"/>
                  <a:pt x="12185" y="3930"/>
                </a:cubicBezTo>
                <a:cubicBezTo>
                  <a:pt x="12158" y="3960"/>
                  <a:pt x="12158" y="3960"/>
                  <a:pt x="12158" y="3960"/>
                </a:cubicBezTo>
                <a:cubicBezTo>
                  <a:pt x="12158" y="3960"/>
                  <a:pt x="12150" y="3995"/>
                  <a:pt x="12134" y="4007"/>
                </a:cubicBezTo>
                <a:cubicBezTo>
                  <a:pt x="12118" y="4018"/>
                  <a:pt x="12077" y="4026"/>
                  <a:pt x="12068" y="4029"/>
                </a:cubicBezTo>
                <a:cubicBezTo>
                  <a:pt x="12059" y="4031"/>
                  <a:pt x="12027" y="4056"/>
                  <a:pt x="12027" y="4056"/>
                </a:cubicBezTo>
                <a:cubicBezTo>
                  <a:pt x="12018" y="4079"/>
                  <a:pt x="12018" y="4079"/>
                  <a:pt x="12018" y="4079"/>
                </a:cubicBezTo>
                <a:cubicBezTo>
                  <a:pt x="12018" y="4079"/>
                  <a:pt x="12042" y="4097"/>
                  <a:pt x="12023" y="4111"/>
                </a:cubicBezTo>
                <a:cubicBezTo>
                  <a:pt x="12005" y="4125"/>
                  <a:pt x="11992" y="4102"/>
                  <a:pt x="11981" y="4099"/>
                </a:cubicBezTo>
                <a:cubicBezTo>
                  <a:pt x="11971" y="4097"/>
                  <a:pt x="11958" y="4116"/>
                  <a:pt x="11958" y="4116"/>
                </a:cubicBezTo>
                <a:cubicBezTo>
                  <a:pt x="11958" y="4116"/>
                  <a:pt x="11939" y="4098"/>
                  <a:pt x="11926" y="4112"/>
                </a:cubicBezTo>
                <a:cubicBezTo>
                  <a:pt x="11912" y="4127"/>
                  <a:pt x="11905" y="4163"/>
                  <a:pt x="11905" y="4163"/>
                </a:cubicBezTo>
                <a:cubicBezTo>
                  <a:pt x="11921" y="4185"/>
                  <a:pt x="11921" y="4185"/>
                  <a:pt x="11921" y="4185"/>
                </a:cubicBezTo>
                <a:cubicBezTo>
                  <a:pt x="11928" y="4220"/>
                  <a:pt x="11928" y="4220"/>
                  <a:pt x="11928" y="4220"/>
                </a:cubicBezTo>
                <a:cubicBezTo>
                  <a:pt x="11959" y="4238"/>
                  <a:pt x="11959" y="4238"/>
                  <a:pt x="11959" y="4238"/>
                </a:cubicBezTo>
                <a:cubicBezTo>
                  <a:pt x="11954" y="4262"/>
                  <a:pt x="11954" y="4262"/>
                  <a:pt x="11954" y="4262"/>
                </a:cubicBezTo>
                <a:cubicBezTo>
                  <a:pt x="11971" y="4273"/>
                  <a:pt x="11971" y="4273"/>
                  <a:pt x="11971" y="4273"/>
                </a:cubicBezTo>
                <a:cubicBezTo>
                  <a:pt x="11960" y="4292"/>
                  <a:pt x="11960" y="4292"/>
                  <a:pt x="11960" y="4292"/>
                </a:cubicBezTo>
                <a:cubicBezTo>
                  <a:pt x="11973" y="4310"/>
                  <a:pt x="11973" y="4310"/>
                  <a:pt x="11973" y="4310"/>
                </a:cubicBezTo>
                <a:cubicBezTo>
                  <a:pt x="11962" y="4317"/>
                  <a:pt x="11962" y="4317"/>
                  <a:pt x="11962" y="4317"/>
                </a:cubicBezTo>
                <a:cubicBezTo>
                  <a:pt x="11972" y="4355"/>
                  <a:pt x="11972" y="4355"/>
                  <a:pt x="11972" y="4355"/>
                </a:cubicBezTo>
                <a:cubicBezTo>
                  <a:pt x="12000" y="4351"/>
                  <a:pt x="12000" y="4351"/>
                  <a:pt x="12000" y="4351"/>
                </a:cubicBezTo>
                <a:cubicBezTo>
                  <a:pt x="12020" y="4358"/>
                  <a:pt x="12020" y="4358"/>
                  <a:pt x="12020" y="4358"/>
                </a:cubicBezTo>
                <a:cubicBezTo>
                  <a:pt x="12020" y="4358"/>
                  <a:pt x="12032" y="4336"/>
                  <a:pt x="12044" y="4336"/>
                </a:cubicBezTo>
                <a:cubicBezTo>
                  <a:pt x="12056" y="4336"/>
                  <a:pt x="12044" y="4368"/>
                  <a:pt x="12056" y="4378"/>
                </a:cubicBezTo>
                <a:cubicBezTo>
                  <a:pt x="12067" y="4387"/>
                  <a:pt x="12077" y="4357"/>
                  <a:pt x="12077" y="4357"/>
                </a:cubicBezTo>
                <a:cubicBezTo>
                  <a:pt x="12095" y="4369"/>
                  <a:pt x="12095" y="4369"/>
                  <a:pt x="12095" y="4369"/>
                </a:cubicBezTo>
                <a:cubicBezTo>
                  <a:pt x="12095" y="4369"/>
                  <a:pt x="12111" y="4355"/>
                  <a:pt x="12120" y="4355"/>
                </a:cubicBezTo>
                <a:cubicBezTo>
                  <a:pt x="12129" y="4354"/>
                  <a:pt x="12123" y="4380"/>
                  <a:pt x="12133" y="4383"/>
                </a:cubicBezTo>
                <a:cubicBezTo>
                  <a:pt x="12143" y="4387"/>
                  <a:pt x="12174" y="4371"/>
                  <a:pt x="12190" y="4374"/>
                </a:cubicBezTo>
                <a:cubicBezTo>
                  <a:pt x="12206" y="4378"/>
                  <a:pt x="12191" y="4427"/>
                  <a:pt x="12191" y="4427"/>
                </a:cubicBezTo>
                <a:cubicBezTo>
                  <a:pt x="12191" y="4427"/>
                  <a:pt x="12205" y="4423"/>
                  <a:pt x="12221" y="4416"/>
                </a:cubicBezTo>
                <a:cubicBezTo>
                  <a:pt x="12237" y="4408"/>
                  <a:pt x="12259" y="4369"/>
                  <a:pt x="12259" y="4369"/>
                </a:cubicBezTo>
                <a:cubicBezTo>
                  <a:pt x="12259" y="4369"/>
                  <a:pt x="12280" y="4352"/>
                  <a:pt x="12286" y="4345"/>
                </a:cubicBezTo>
                <a:close/>
                <a:moveTo>
                  <a:pt x="12956" y="4630"/>
                </a:moveTo>
                <a:cubicBezTo>
                  <a:pt x="12975" y="4615"/>
                  <a:pt x="12975" y="4615"/>
                  <a:pt x="12975" y="4615"/>
                </a:cubicBezTo>
                <a:cubicBezTo>
                  <a:pt x="12975" y="4615"/>
                  <a:pt x="12997" y="4623"/>
                  <a:pt x="12997" y="4601"/>
                </a:cubicBezTo>
                <a:cubicBezTo>
                  <a:pt x="12997" y="4579"/>
                  <a:pt x="12946" y="4605"/>
                  <a:pt x="12946" y="4624"/>
                </a:cubicBezTo>
                <a:lnTo>
                  <a:pt x="12956" y="4630"/>
                </a:lnTo>
                <a:close/>
                <a:moveTo>
                  <a:pt x="12188" y="4632"/>
                </a:moveTo>
                <a:cubicBezTo>
                  <a:pt x="12185" y="4651"/>
                  <a:pt x="12185" y="4651"/>
                  <a:pt x="12185" y="4651"/>
                </a:cubicBezTo>
                <a:cubicBezTo>
                  <a:pt x="12185" y="4651"/>
                  <a:pt x="12195" y="4679"/>
                  <a:pt x="12208" y="4668"/>
                </a:cubicBezTo>
                <a:cubicBezTo>
                  <a:pt x="12221" y="4658"/>
                  <a:pt x="12224" y="4632"/>
                  <a:pt x="12214" y="4632"/>
                </a:cubicBezTo>
                <a:cubicBezTo>
                  <a:pt x="12204" y="4632"/>
                  <a:pt x="12188" y="4632"/>
                  <a:pt x="12188" y="4632"/>
                </a:cubicBezTo>
                <a:close/>
                <a:moveTo>
                  <a:pt x="12905" y="4830"/>
                </a:moveTo>
                <a:cubicBezTo>
                  <a:pt x="12914" y="4840"/>
                  <a:pt x="12930" y="4808"/>
                  <a:pt x="12930" y="4808"/>
                </a:cubicBezTo>
                <a:cubicBezTo>
                  <a:pt x="12920" y="4794"/>
                  <a:pt x="12896" y="4819"/>
                  <a:pt x="12905" y="4830"/>
                </a:cubicBezTo>
                <a:close/>
                <a:moveTo>
                  <a:pt x="12245" y="4630"/>
                </a:moveTo>
                <a:cubicBezTo>
                  <a:pt x="12235" y="4629"/>
                  <a:pt x="12229" y="4640"/>
                  <a:pt x="12229" y="4640"/>
                </a:cubicBezTo>
                <a:cubicBezTo>
                  <a:pt x="12229" y="4640"/>
                  <a:pt x="12246" y="4655"/>
                  <a:pt x="12257" y="4648"/>
                </a:cubicBezTo>
                <a:cubicBezTo>
                  <a:pt x="12267" y="4640"/>
                  <a:pt x="12255" y="4632"/>
                  <a:pt x="12245" y="4630"/>
                </a:cubicBezTo>
                <a:close/>
                <a:moveTo>
                  <a:pt x="13136" y="4491"/>
                </a:moveTo>
                <a:cubicBezTo>
                  <a:pt x="13117" y="4495"/>
                  <a:pt x="13117" y="4495"/>
                  <a:pt x="13117" y="4495"/>
                </a:cubicBezTo>
                <a:cubicBezTo>
                  <a:pt x="13112" y="4516"/>
                  <a:pt x="13112" y="4516"/>
                  <a:pt x="13112" y="4516"/>
                </a:cubicBezTo>
                <a:cubicBezTo>
                  <a:pt x="13102" y="4526"/>
                  <a:pt x="13102" y="4526"/>
                  <a:pt x="13102" y="4526"/>
                </a:cubicBezTo>
                <a:cubicBezTo>
                  <a:pt x="13104" y="4561"/>
                  <a:pt x="13104" y="4561"/>
                  <a:pt x="13104" y="4561"/>
                </a:cubicBezTo>
                <a:cubicBezTo>
                  <a:pt x="13115" y="4564"/>
                  <a:pt x="13115" y="4564"/>
                  <a:pt x="13115" y="4564"/>
                </a:cubicBezTo>
                <a:cubicBezTo>
                  <a:pt x="13114" y="4551"/>
                  <a:pt x="13114" y="4551"/>
                  <a:pt x="13114" y="4551"/>
                </a:cubicBezTo>
                <a:cubicBezTo>
                  <a:pt x="13121" y="4548"/>
                  <a:pt x="13121" y="4548"/>
                  <a:pt x="13121" y="4548"/>
                </a:cubicBezTo>
                <a:cubicBezTo>
                  <a:pt x="13120" y="4533"/>
                  <a:pt x="13120" y="4533"/>
                  <a:pt x="13120" y="4533"/>
                </a:cubicBezTo>
                <a:cubicBezTo>
                  <a:pt x="13111" y="4533"/>
                  <a:pt x="13111" y="4533"/>
                  <a:pt x="13111" y="4533"/>
                </a:cubicBezTo>
                <a:cubicBezTo>
                  <a:pt x="13123" y="4513"/>
                  <a:pt x="13123" y="4513"/>
                  <a:pt x="13123" y="4513"/>
                </a:cubicBezTo>
                <a:lnTo>
                  <a:pt x="13136" y="4491"/>
                </a:lnTo>
                <a:close/>
                <a:moveTo>
                  <a:pt x="14354" y="4634"/>
                </a:moveTo>
                <a:cubicBezTo>
                  <a:pt x="14354" y="4634"/>
                  <a:pt x="14343" y="4669"/>
                  <a:pt x="14349" y="4680"/>
                </a:cubicBezTo>
                <a:cubicBezTo>
                  <a:pt x="14356" y="4690"/>
                  <a:pt x="14383" y="4710"/>
                  <a:pt x="14383" y="4710"/>
                </a:cubicBezTo>
                <a:lnTo>
                  <a:pt x="14354" y="4634"/>
                </a:lnTo>
                <a:close/>
                <a:moveTo>
                  <a:pt x="11730" y="4507"/>
                </a:moveTo>
                <a:cubicBezTo>
                  <a:pt x="11735" y="4502"/>
                  <a:pt x="11735" y="4487"/>
                  <a:pt x="11735" y="4487"/>
                </a:cubicBezTo>
                <a:cubicBezTo>
                  <a:pt x="11754" y="4505"/>
                  <a:pt x="11754" y="4505"/>
                  <a:pt x="11754" y="4505"/>
                </a:cubicBezTo>
                <a:cubicBezTo>
                  <a:pt x="11754" y="4505"/>
                  <a:pt x="11762" y="4482"/>
                  <a:pt x="11762" y="4466"/>
                </a:cubicBezTo>
                <a:cubicBezTo>
                  <a:pt x="11762" y="4450"/>
                  <a:pt x="11771" y="4406"/>
                  <a:pt x="11771" y="4406"/>
                </a:cubicBezTo>
                <a:cubicBezTo>
                  <a:pt x="11771" y="4406"/>
                  <a:pt x="11762" y="4401"/>
                  <a:pt x="11762" y="4391"/>
                </a:cubicBezTo>
                <a:cubicBezTo>
                  <a:pt x="11762" y="4382"/>
                  <a:pt x="11781" y="4367"/>
                  <a:pt x="11775" y="4362"/>
                </a:cubicBezTo>
                <a:cubicBezTo>
                  <a:pt x="11770" y="4357"/>
                  <a:pt x="11765" y="4353"/>
                  <a:pt x="11765" y="4353"/>
                </a:cubicBezTo>
                <a:cubicBezTo>
                  <a:pt x="11757" y="4322"/>
                  <a:pt x="11757" y="4322"/>
                  <a:pt x="11757" y="4322"/>
                </a:cubicBezTo>
                <a:cubicBezTo>
                  <a:pt x="11729" y="4323"/>
                  <a:pt x="11729" y="4323"/>
                  <a:pt x="11729" y="4323"/>
                </a:cubicBezTo>
                <a:cubicBezTo>
                  <a:pt x="11729" y="4323"/>
                  <a:pt x="11733" y="4305"/>
                  <a:pt x="11726" y="4301"/>
                </a:cubicBezTo>
                <a:cubicBezTo>
                  <a:pt x="11719" y="4297"/>
                  <a:pt x="11705" y="4298"/>
                  <a:pt x="11705" y="4298"/>
                </a:cubicBezTo>
                <a:cubicBezTo>
                  <a:pt x="11699" y="4251"/>
                  <a:pt x="11699" y="4251"/>
                  <a:pt x="11699" y="4251"/>
                </a:cubicBezTo>
                <a:cubicBezTo>
                  <a:pt x="11699" y="4251"/>
                  <a:pt x="11657" y="4255"/>
                  <a:pt x="11654" y="4242"/>
                </a:cubicBezTo>
                <a:cubicBezTo>
                  <a:pt x="11651" y="4229"/>
                  <a:pt x="11665" y="4213"/>
                  <a:pt x="11665" y="4213"/>
                </a:cubicBezTo>
                <a:cubicBezTo>
                  <a:pt x="11649" y="4211"/>
                  <a:pt x="11649" y="4211"/>
                  <a:pt x="11649" y="4211"/>
                </a:cubicBezTo>
                <a:cubicBezTo>
                  <a:pt x="11649" y="4211"/>
                  <a:pt x="11674" y="4182"/>
                  <a:pt x="11665" y="4174"/>
                </a:cubicBezTo>
                <a:cubicBezTo>
                  <a:pt x="11655" y="4166"/>
                  <a:pt x="11613" y="4185"/>
                  <a:pt x="11613" y="4185"/>
                </a:cubicBezTo>
                <a:cubicBezTo>
                  <a:pt x="11613" y="4185"/>
                  <a:pt x="11638" y="4161"/>
                  <a:pt x="11630" y="4157"/>
                </a:cubicBezTo>
                <a:cubicBezTo>
                  <a:pt x="11622" y="4153"/>
                  <a:pt x="11598" y="4149"/>
                  <a:pt x="11598" y="4149"/>
                </a:cubicBezTo>
                <a:cubicBezTo>
                  <a:pt x="11598" y="4149"/>
                  <a:pt x="11609" y="4141"/>
                  <a:pt x="11595" y="4123"/>
                </a:cubicBezTo>
                <a:cubicBezTo>
                  <a:pt x="11582" y="4106"/>
                  <a:pt x="11559" y="4105"/>
                  <a:pt x="11559" y="4105"/>
                </a:cubicBezTo>
                <a:cubicBezTo>
                  <a:pt x="11559" y="4105"/>
                  <a:pt x="11553" y="4085"/>
                  <a:pt x="11546" y="4077"/>
                </a:cubicBezTo>
                <a:cubicBezTo>
                  <a:pt x="11539" y="4069"/>
                  <a:pt x="11530" y="4075"/>
                  <a:pt x="11530" y="4075"/>
                </a:cubicBezTo>
                <a:cubicBezTo>
                  <a:pt x="11534" y="4090"/>
                  <a:pt x="11534" y="4090"/>
                  <a:pt x="11534" y="4090"/>
                </a:cubicBezTo>
                <a:cubicBezTo>
                  <a:pt x="11534" y="4090"/>
                  <a:pt x="11509" y="4071"/>
                  <a:pt x="11503" y="4065"/>
                </a:cubicBezTo>
                <a:cubicBezTo>
                  <a:pt x="11498" y="4058"/>
                  <a:pt x="11487" y="4031"/>
                  <a:pt x="11487" y="4031"/>
                </a:cubicBezTo>
                <a:cubicBezTo>
                  <a:pt x="11487" y="4031"/>
                  <a:pt x="11457" y="4010"/>
                  <a:pt x="11443" y="3998"/>
                </a:cubicBezTo>
                <a:cubicBezTo>
                  <a:pt x="11430" y="3986"/>
                  <a:pt x="11407" y="3967"/>
                  <a:pt x="11407" y="3967"/>
                </a:cubicBezTo>
                <a:cubicBezTo>
                  <a:pt x="11407" y="3967"/>
                  <a:pt x="11411" y="3962"/>
                  <a:pt x="11406" y="3957"/>
                </a:cubicBezTo>
                <a:cubicBezTo>
                  <a:pt x="11401" y="3951"/>
                  <a:pt x="11394" y="3945"/>
                  <a:pt x="11394" y="3945"/>
                </a:cubicBezTo>
                <a:cubicBezTo>
                  <a:pt x="11394" y="3945"/>
                  <a:pt x="11383" y="3926"/>
                  <a:pt x="11375" y="3919"/>
                </a:cubicBezTo>
                <a:cubicBezTo>
                  <a:pt x="11367" y="3913"/>
                  <a:pt x="11359" y="3914"/>
                  <a:pt x="11359" y="3914"/>
                </a:cubicBezTo>
                <a:cubicBezTo>
                  <a:pt x="11302" y="3910"/>
                  <a:pt x="11302" y="3910"/>
                  <a:pt x="11302" y="3910"/>
                </a:cubicBezTo>
                <a:cubicBezTo>
                  <a:pt x="11302" y="3910"/>
                  <a:pt x="11282" y="3885"/>
                  <a:pt x="11271" y="3887"/>
                </a:cubicBezTo>
                <a:cubicBezTo>
                  <a:pt x="11261" y="3890"/>
                  <a:pt x="11255" y="3914"/>
                  <a:pt x="11262" y="3926"/>
                </a:cubicBezTo>
                <a:cubicBezTo>
                  <a:pt x="11269" y="3938"/>
                  <a:pt x="11343" y="4006"/>
                  <a:pt x="11343" y="4006"/>
                </a:cubicBezTo>
                <a:cubicBezTo>
                  <a:pt x="11366" y="4042"/>
                  <a:pt x="11366" y="4042"/>
                  <a:pt x="11366" y="4042"/>
                </a:cubicBezTo>
                <a:cubicBezTo>
                  <a:pt x="11374" y="4039"/>
                  <a:pt x="11374" y="4039"/>
                  <a:pt x="11374" y="4039"/>
                </a:cubicBezTo>
                <a:cubicBezTo>
                  <a:pt x="11374" y="4039"/>
                  <a:pt x="11377" y="4063"/>
                  <a:pt x="11383" y="4069"/>
                </a:cubicBezTo>
                <a:cubicBezTo>
                  <a:pt x="11390" y="4074"/>
                  <a:pt x="11425" y="4087"/>
                  <a:pt x="11433" y="4103"/>
                </a:cubicBezTo>
                <a:cubicBezTo>
                  <a:pt x="11441" y="4119"/>
                  <a:pt x="11449" y="4151"/>
                  <a:pt x="11449" y="4151"/>
                </a:cubicBezTo>
                <a:cubicBezTo>
                  <a:pt x="11449" y="4151"/>
                  <a:pt x="11446" y="4186"/>
                  <a:pt x="11454" y="4186"/>
                </a:cubicBezTo>
                <a:cubicBezTo>
                  <a:pt x="11462" y="4186"/>
                  <a:pt x="11474" y="4178"/>
                  <a:pt x="11477" y="4187"/>
                </a:cubicBezTo>
                <a:cubicBezTo>
                  <a:pt x="11479" y="4197"/>
                  <a:pt x="11485" y="4213"/>
                  <a:pt x="11485" y="4213"/>
                </a:cubicBezTo>
                <a:cubicBezTo>
                  <a:pt x="11510" y="4234"/>
                  <a:pt x="11510" y="4234"/>
                  <a:pt x="11510" y="4234"/>
                </a:cubicBezTo>
                <a:cubicBezTo>
                  <a:pt x="11509" y="4250"/>
                  <a:pt x="11509" y="4250"/>
                  <a:pt x="11509" y="4250"/>
                </a:cubicBezTo>
                <a:cubicBezTo>
                  <a:pt x="11530" y="4293"/>
                  <a:pt x="11530" y="4293"/>
                  <a:pt x="11530" y="4293"/>
                </a:cubicBezTo>
                <a:cubicBezTo>
                  <a:pt x="11530" y="4293"/>
                  <a:pt x="11523" y="4306"/>
                  <a:pt x="11533" y="4321"/>
                </a:cubicBezTo>
                <a:cubicBezTo>
                  <a:pt x="11542" y="4335"/>
                  <a:pt x="11551" y="4338"/>
                  <a:pt x="11551" y="4338"/>
                </a:cubicBezTo>
                <a:cubicBezTo>
                  <a:pt x="11551" y="4338"/>
                  <a:pt x="11561" y="4362"/>
                  <a:pt x="11569" y="4370"/>
                </a:cubicBezTo>
                <a:cubicBezTo>
                  <a:pt x="11577" y="4378"/>
                  <a:pt x="11598" y="4386"/>
                  <a:pt x="11598" y="4386"/>
                </a:cubicBezTo>
                <a:cubicBezTo>
                  <a:pt x="11598" y="4411"/>
                  <a:pt x="11598" y="4411"/>
                  <a:pt x="11598" y="4411"/>
                </a:cubicBezTo>
                <a:cubicBezTo>
                  <a:pt x="11598" y="4411"/>
                  <a:pt x="11647" y="4453"/>
                  <a:pt x="11650" y="4457"/>
                </a:cubicBezTo>
                <a:cubicBezTo>
                  <a:pt x="11653" y="4461"/>
                  <a:pt x="11666" y="4462"/>
                  <a:pt x="11666" y="4462"/>
                </a:cubicBezTo>
                <a:cubicBezTo>
                  <a:pt x="11666" y="4462"/>
                  <a:pt x="11677" y="4487"/>
                  <a:pt x="11685" y="4491"/>
                </a:cubicBezTo>
                <a:cubicBezTo>
                  <a:pt x="11693" y="4495"/>
                  <a:pt x="11695" y="4517"/>
                  <a:pt x="11699" y="4515"/>
                </a:cubicBezTo>
                <a:cubicBezTo>
                  <a:pt x="11703" y="4514"/>
                  <a:pt x="11697" y="4493"/>
                  <a:pt x="11702" y="4490"/>
                </a:cubicBezTo>
                <a:cubicBezTo>
                  <a:pt x="11707" y="4487"/>
                  <a:pt x="11725" y="4513"/>
                  <a:pt x="11730" y="4507"/>
                </a:cubicBezTo>
                <a:close/>
                <a:moveTo>
                  <a:pt x="13238" y="6397"/>
                </a:moveTo>
                <a:cubicBezTo>
                  <a:pt x="13229" y="6391"/>
                  <a:pt x="13218" y="6411"/>
                  <a:pt x="13218" y="6411"/>
                </a:cubicBezTo>
                <a:cubicBezTo>
                  <a:pt x="13218" y="6411"/>
                  <a:pt x="13214" y="6405"/>
                  <a:pt x="13210" y="6405"/>
                </a:cubicBezTo>
                <a:cubicBezTo>
                  <a:pt x="13206" y="6404"/>
                  <a:pt x="13183" y="6408"/>
                  <a:pt x="13183" y="6408"/>
                </a:cubicBezTo>
                <a:cubicBezTo>
                  <a:pt x="13180" y="6416"/>
                  <a:pt x="13180" y="6416"/>
                  <a:pt x="13180" y="6416"/>
                </a:cubicBezTo>
                <a:cubicBezTo>
                  <a:pt x="13167" y="6405"/>
                  <a:pt x="13167" y="6405"/>
                  <a:pt x="13167" y="6405"/>
                </a:cubicBezTo>
                <a:cubicBezTo>
                  <a:pt x="13142" y="6403"/>
                  <a:pt x="13142" y="6403"/>
                  <a:pt x="13142" y="6403"/>
                </a:cubicBezTo>
                <a:cubicBezTo>
                  <a:pt x="13127" y="6385"/>
                  <a:pt x="13127" y="6385"/>
                  <a:pt x="13127" y="6385"/>
                </a:cubicBezTo>
                <a:cubicBezTo>
                  <a:pt x="13127" y="6385"/>
                  <a:pt x="13122" y="6388"/>
                  <a:pt x="13116" y="6389"/>
                </a:cubicBezTo>
                <a:cubicBezTo>
                  <a:pt x="13111" y="6390"/>
                  <a:pt x="13094" y="6370"/>
                  <a:pt x="13094" y="6370"/>
                </a:cubicBezTo>
                <a:cubicBezTo>
                  <a:pt x="13090" y="6381"/>
                  <a:pt x="13090" y="6381"/>
                  <a:pt x="13090" y="6381"/>
                </a:cubicBezTo>
                <a:cubicBezTo>
                  <a:pt x="13094" y="6394"/>
                  <a:pt x="13094" y="6394"/>
                  <a:pt x="13094" y="6394"/>
                </a:cubicBezTo>
                <a:cubicBezTo>
                  <a:pt x="13094" y="6394"/>
                  <a:pt x="13095" y="6410"/>
                  <a:pt x="13093" y="6415"/>
                </a:cubicBezTo>
                <a:cubicBezTo>
                  <a:pt x="13091" y="6420"/>
                  <a:pt x="13085" y="6428"/>
                  <a:pt x="13091" y="6439"/>
                </a:cubicBezTo>
                <a:cubicBezTo>
                  <a:pt x="13097" y="6450"/>
                  <a:pt x="13090" y="6456"/>
                  <a:pt x="13082" y="6459"/>
                </a:cubicBezTo>
                <a:cubicBezTo>
                  <a:pt x="13073" y="6461"/>
                  <a:pt x="13066" y="6451"/>
                  <a:pt x="13066" y="6451"/>
                </a:cubicBezTo>
                <a:cubicBezTo>
                  <a:pt x="13066" y="6451"/>
                  <a:pt x="13062" y="6465"/>
                  <a:pt x="13061" y="6478"/>
                </a:cubicBezTo>
                <a:cubicBezTo>
                  <a:pt x="13060" y="6492"/>
                  <a:pt x="13072" y="6513"/>
                  <a:pt x="13072" y="6513"/>
                </a:cubicBezTo>
                <a:cubicBezTo>
                  <a:pt x="13087" y="6515"/>
                  <a:pt x="13087" y="6515"/>
                  <a:pt x="13087" y="6515"/>
                </a:cubicBezTo>
                <a:cubicBezTo>
                  <a:pt x="13074" y="6522"/>
                  <a:pt x="13074" y="6522"/>
                  <a:pt x="13074" y="6522"/>
                </a:cubicBezTo>
                <a:cubicBezTo>
                  <a:pt x="13079" y="6539"/>
                  <a:pt x="13079" y="6539"/>
                  <a:pt x="13079" y="6539"/>
                </a:cubicBezTo>
                <a:cubicBezTo>
                  <a:pt x="13079" y="6539"/>
                  <a:pt x="13091" y="6534"/>
                  <a:pt x="13097" y="6531"/>
                </a:cubicBezTo>
                <a:cubicBezTo>
                  <a:pt x="13104" y="6528"/>
                  <a:pt x="13109" y="6538"/>
                  <a:pt x="13120" y="6534"/>
                </a:cubicBezTo>
                <a:cubicBezTo>
                  <a:pt x="13131" y="6529"/>
                  <a:pt x="13138" y="6513"/>
                  <a:pt x="13145" y="6517"/>
                </a:cubicBezTo>
                <a:cubicBezTo>
                  <a:pt x="13153" y="6522"/>
                  <a:pt x="13142" y="6533"/>
                  <a:pt x="13142" y="6533"/>
                </a:cubicBezTo>
                <a:cubicBezTo>
                  <a:pt x="13153" y="6537"/>
                  <a:pt x="13153" y="6537"/>
                  <a:pt x="13153" y="6537"/>
                </a:cubicBezTo>
                <a:cubicBezTo>
                  <a:pt x="13153" y="6537"/>
                  <a:pt x="13174" y="6509"/>
                  <a:pt x="13183" y="6503"/>
                </a:cubicBezTo>
                <a:cubicBezTo>
                  <a:pt x="13191" y="6498"/>
                  <a:pt x="13174" y="6491"/>
                  <a:pt x="13174" y="6491"/>
                </a:cubicBezTo>
                <a:cubicBezTo>
                  <a:pt x="13188" y="6471"/>
                  <a:pt x="13188" y="6471"/>
                  <a:pt x="13188" y="6471"/>
                </a:cubicBezTo>
                <a:cubicBezTo>
                  <a:pt x="13188" y="6471"/>
                  <a:pt x="13198" y="6475"/>
                  <a:pt x="13209" y="6469"/>
                </a:cubicBezTo>
                <a:cubicBezTo>
                  <a:pt x="13220" y="6464"/>
                  <a:pt x="13211" y="6443"/>
                  <a:pt x="13221" y="6432"/>
                </a:cubicBezTo>
                <a:cubicBezTo>
                  <a:pt x="13232" y="6421"/>
                  <a:pt x="13246" y="6403"/>
                  <a:pt x="13238" y="6397"/>
                </a:cubicBezTo>
                <a:close/>
                <a:moveTo>
                  <a:pt x="11483" y="4331"/>
                </a:moveTo>
                <a:cubicBezTo>
                  <a:pt x="11475" y="4338"/>
                  <a:pt x="11493" y="4347"/>
                  <a:pt x="11493" y="4347"/>
                </a:cubicBezTo>
                <a:cubicBezTo>
                  <a:pt x="11493" y="4347"/>
                  <a:pt x="11505" y="4371"/>
                  <a:pt x="11513" y="4363"/>
                </a:cubicBezTo>
                <a:cubicBezTo>
                  <a:pt x="11521" y="4355"/>
                  <a:pt x="11489" y="4327"/>
                  <a:pt x="11483" y="4331"/>
                </a:cubicBezTo>
                <a:close/>
                <a:moveTo>
                  <a:pt x="13775" y="5539"/>
                </a:moveTo>
                <a:cubicBezTo>
                  <a:pt x="13775" y="5539"/>
                  <a:pt x="13772" y="5498"/>
                  <a:pt x="13771" y="5492"/>
                </a:cubicBezTo>
                <a:cubicBezTo>
                  <a:pt x="13769" y="5486"/>
                  <a:pt x="13749" y="5485"/>
                  <a:pt x="13749" y="5485"/>
                </a:cubicBezTo>
                <a:cubicBezTo>
                  <a:pt x="13749" y="5471"/>
                  <a:pt x="13749" y="5471"/>
                  <a:pt x="13749" y="5471"/>
                </a:cubicBezTo>
                <a:cubicBezTo>
                  <a:pt x="13736" y="5463"/>
                  <a:pt x="13736" y="5463"/>
                  <a:pt x="13736" y="5463"/>
                </a:cubicBezTo>
                <a:cubicBezTo>
                  <a:pt x="13736" y="5463"/>
                  <a:pt x="13741" y="5446"/>
                  <a:pt x="13736" y="5439"/>
                </a:cubicBezTo>
                <a:cubicBezTo>
                  <a:pt x="13731" y="5432"/>
                  <a:pt x="13711" y="5425"/>
                  <a:pt x="13711" y="5425"/>
                </a:cubicBezTo>
                <a:cubicBezTo>
                  <a:pt x="13711" y="5425"/>
                  <a:pt x="13746" y="5419"/>
                  <a:pt x="13748" y="5406"/>
                </a:cubicBezTo>
                <a:cubicBezTo>
                  <a:pt x="13750" y="5392"/>
                  <a:pt x="13728" y="5388"/>
                  <a:pt x="13728" y="5388"/>
                </a:cubicBezTo>
                <a:cubicBezTo>
                  <a:pt x="13728" y="5388"/>
                  <a:pt x="13721" y="5367"/>
                  <a:pt x="13710" y="5368"/>
                </a:cubicBezTo>
                <a:cubicBezTo>
                  <a:pt x="13698" y="5369"/>
                  <a:pt x="13703" y="5387"/>
                  <a:pt x="13703" y="5387"/>
                </a:cubicBezTo>
                <a:cubicBezTo>
                  <a:pt x="13689" y="5384"/>
                  <a:pt x="13689" y="5384"/>
                  <a:pt x="13689" y="5384"/>
                </a:cubicBezTo>
                <a:cubicBezTo>
                  <a:pt x="13689" y="5384"/>
                  <a:pt x="13702" y="5343"/>
                  <a:pt x="13702" y="5333"/>
                </a:cubicBezTo>
                <a:cubicBezTo>
                  <a:pt x="13701" y="5324"/>
                  <a:pt x="13681" y="5322"/>
                  <a:pt x="13677" y="5312"/>
                </a:cubicBezTo>
                <a:cubicBezTo>
                  <a:pt x="13674" y="5303"/>
                  <a:pt x="13687" y="5286"/>
                  <a:pt x="13683" y="5272"/>
                </a:cubicBezTo>
                <a:cubicBezTo>
                  <a:pt x="13679" y="5259"/>
                  <a:pt x="13619" y="5230"/>
                  <a:pt x="13619" y="5230"/>
                </a:cubicBezTo>
                <a:cubicBezTo>
                  <a:pt x="13613" y="5236"/>
                  <a:pt x="13613" y="5236"/>
                  <a:pt x="13613" y="5236"/>
                </a:cubicBezTo>
                <a:cubicBezTo>
                  <a:pt x="13613" y="5236"/>
                  <a:pt x="13585" y="5204"/>
                  <a:pt x="13583" y="5182"/>
                </a:cubicBezTo>
                <a:cubicBezTo>
                  <a:pt x="13582" y="5159"/>
                  <a:pt x="13591" y="5146"/>
                  <a:pt x="13591" y="5126"/>
                </a:cubicBezTo>
                <a:cubicBezTo>
                  <a:pt x="13591" y="5106"/>
                  <a:pt x="13572" y="5063"/>
                  <a:pt x="13568" y="5047"/>
                </a:cubicBezTo>
                <a:cubicBezTo>
                  <a:pt x="13564" y="5031"/>
                  <a:pt x="13575" y="5021"/>
                  <a:pt x="13577" y="5012"/>
                </a:cubicBezTo>
                <a:cubicBezTo>
                  <a:pt x="13579" y="5003"/>
                  <a:pt x="13572" y="4965"/>
                  <a:pt x="13572" y="4965"/>
                </a:cubicBezTo>
                <a:cubicBezTo>
                  <a:pt x="13555" y="4957"/>
                  <a:pt x="13555" y="4957"/>
                  <a:pt x="13555" y="4957"/>
                </a:cubicBezTo>
                <a:cubicBezTo>
                  <a:pt x="13555" y="4957"/>
                  <a:pt x="13541" y="4942"/>
                  <a:pt x="13531" y="4942"/>
                </a:cubicBezTo>
                <a:cubicBezTo>
                  <a:pt x="13521" y="4941"/>
                  <a:pt x="13515" y="4956"/>
                  <a:pt x="13515" y="4956"/>
                </a:cubicBezTo>
                <a:cubicBezTo>
                  <a:pt x="13515" y="4956"/>
                  <a:pt x="13508" y="4941"/>
                  <a:pt x="13507" y="4932"/>
                </a:cubicBezTo>
                <a:cubicBezTo>
                  <a:pt x="13506" y="4924"/>
                  <a:pt x="13513" y="4900"/>
                  <a:pt x="13513" y="4900"/>
                </a:cubicBezTo>
                <a:cubicBezTo>
                  <a:pt x="13502" y="4885"/>
                  <a:pt x="13502" y="4885"/>
                  <a:pt x="13502" y="4885"/>
                </a:cubicBezTo>
                <a:cubicBezTo>
                  <a:pt x="13502" y="4829"/>
                  <a:pt x="13502" y="4829"/>
                  <a:pt x="13502" y="4829"/>
                </a:cubicBezTo>
                <a:cubicBezTo>
                  <a:pt x="13502" y="4829"/>
                  <a:pt x="13481" y="4815"/>
                  <a:pt x="13484" y="4806"/>
                </a:cubicBezTo>
                <a:cubicBezTo>
                  <a:pt x="13488" y="4797"/>
                  <a:pt x="13492" y="4785"/>
                  <a:pt x="13487" y="4780"/>
                </a:cubicBezTo>
                <a:cubicBezTo>
                  <a:pt x="13482" y="4776"/>
                  <a:pt x="13470" y="4774"/>
                  <a:pt x="13470" y="4774"/>
                </a:cubicBezTo>
                <a:cubicBezTo>
                  <a:pt x="13471" y="4765"/>
                  <a:pt x="13471" y="4765"/>
                  <a:pt x="13471" y="4765"/>
                </a:cubicBezTo>
                <a:cubicBezTo>
                  <a:pt x="13451" y="4770"/>
                  <a:pt x="13451" y="4770"/>
                  <a:pt x="13451" y="4770"/>
                </a:cubicBezTo>
                <a:cubicBezTo>
                  <a:pt x="13447" y="4783"/>
                  <a:pt x="13447" y="4783"/>
                  <a:pt x="13447" y="4783"/>
                </a:cubicBezTo>
                <a:cubicBezTo>
                  <a:pt x="13447" y="4783"/>
                  <a:pt x="13435" y="4791"/>
                  <a:pt x="13429" y="4795"/>
                </a:cubicBezTo>
                <a:cubicBezTo>
                  <a:pt x="13424" y="4799"/>
                  <a:pt x="13437" y="4825"/>
                  <a:pt x="13437" y="4835"/>
                </a:cubicBezTo>
                <a:cubicBezTo>
                  <a:pt x="13436" y="4846"/>
                  <a:pt x="13402" y="4883"/>
                  <a:pt x="13402" y="4883"/>
                </a:cubicBezTo>
                <a:cubicBezTo>
                  <a:pt x="13413" y="4892"/>
                  <a:pt x="13413" y="4892"/>
                  <a:pt x="13413" y="4892"/>
                </a:cubicBezTo>
                <a:cubicBezTo>
                  <a:pt x="13413" y="4892"/>
                  <a:pt x="13398" y="4912"/>
                  <a:pt x="13396" y="4920"/>
                </a:cubicBezTo>
                <a:cubicBezTo>
                  <a:pt x="13394" y="4928"/>
                  <a:pt x="13400" y="4954"/>
                  <a:pt x="13400" y="4954"/>
                </a:cubicBezTo>
                <a:cubicBezTo>
                  <a:pt x="13400" y="4954"/>
                  <a:pt x="13379" y="5038"/>
                  <a:pt x="13378" y="5050"/>
                </a:cubicBezTo>
                <a:cubicBezTo>
                  <a:pt x="13377" y="5061"/>
                  <a:pt x="13350" y="5090"/>
                  <a:pt x="13350" y="5090"/>
                </a:cubicBezTo>
                <a:cubicBezTo>
                  <a:pt x="13350" y="5090"/>
                  <a:pt x="13351" y="5123"/>
                  <a:pt x="13334" y="5131"/>
                </a:cubicBezTo>
                <a:cubicBezTo>
                  <a:pt x="13317" y="5138"/>
                  <a:pt x="13281" y="5146"/>
                  <a:pt x="13281" y="5146"/>
                </a:cubicBezTo>
                <a:cubicBezTo>
                  <a:pt x="13281" y="5146"/>
                  <a:pt x="13260" y="5112"/>
                  <a:pt x="13255" y="5102"/>
                </a:cubicBezTo>
                <a:cubicBezTo>
                  <a:pt x="13250" y="5093"/>
                  <a:pt x="13209" y="5079"/>
                  <a:pt x="13189" y="5071"/>
                </a:cubicBezTo>
                <a:cubicBezTo>
                  <a:pt x="13168" y="5064"/>
                  <a:pt x="13155" y="5031"/>
                  <a:pt x="13152" y="5027"/>
                </a:cubicBezTo>
                <a:cubicBezTo>
                  <a:pt x="13149" y="5024"/>
                  <a:pt x="13129" y="5025"/>
                  <a:pt x="13129" y="5025"/>
                </a:cubicBezTo>
                <a:cubicBezTo>
                  <a:pt x="13113" y="4996"/>
                  <a:pt x="13113" y="4996"/>
                  <a:pt x="13113" y="4996"/>
                </a:cubicBezTo>
                <a:cubicBezTo>
                  <a:pt x="13126" y="4982"/>
                  <a:pt x="13126" y="4982"/>
                  <a:pt x="13126" y="4982"/>
                </a:cubicBezTo>
                <a:cubicBezTo>
                  <a:pt x="13126" y="4982"/>
                  <a:pt x="13119" y="4971"/>
                  <a:pt x="13127" y="4960"/>
                </a:cubicBezTo>
                <a:cubicBezTo>
                  <a:pt x="13135" y="4949"/>
                  <a:pt x="13145" y="4946"/>
                  <a:pt x="13145" y="4946"/>
                </a:cubicBezTo>
                <a:cubicBezTo>
                  <a:pt x="13141" y="4916"/>
                  <a:pt x="13141" y="4916"/>
                  <a:pt x="13141" y="4916"/>
                </a:cubicBezTo>
                <a:cubicBezTo>
                  <a:pt x="13154" y="4904"/>
                  <a:pt x="13154" y="4904"/>
                  <a:pt x="13154" y="4904"/>
                </a:cubicBezTo>
                <a:cubicBezTo>
                  <a:pt x="13154" y="4904"/>
                  <a:pt x="13168" y="4911"/>
                  <a:pt x="13173" y="4909"/>
                </a:cubicBezTo>
                <a:cubicBezTo>
                  <a:pt x="13179" y="4907"/>
                  <a:pt x="13180" y="4884"/>
                  <a:pt x="13180" y="4884"/>
                </a:cubicBezTo>
                <a:cubicBezTo>
                  <a:pt x="13205" y="4860"/>
                  <a:pt x="13205" y="4860"/>
                  <a:pt x="13205" y="4860"/>
                </a:cubicBezTo>
                <a:cubicBezTo>
                  <a:pt x="13205" y="4860"/>
                  <a:pt x="13191" y="4837"/>
                  <a:pt x="13175" y="4834"/>
                </a:cubicBezTo>
                <a:cubicBezTo>
                  <a:pt x="13158" y="4832"/>
                  <a:pt x="13137" y="4857"/>
                  <a:pt x="13137" y="4857"/>
                </a:cubicBezTo>
                <a:cubicBezTo>
                  <a:pt x="13135" y="4843"/>
                  <a:pt x="13135" y="4843"/>
                  <a:pt x="13135" y="4843"/>
                </a:cubicBezTo>
                <a:cubicBezTo>
                  <a:pt x="13115" y="4845"/>
                  <a:pt x="13115" y="4845"/>
                  <a:pt x="13115" y="4845"/>
                </a:cubicBezTo>
                <a:cubicBezTo>
                  <a:pt x="13106" y="4854"/>
                  <a:pt x="13106" y="4854"/>
                  <a:pt x="13106" y="4854"/>
                </a:cubicBezTo>
                <a:cubicBezTo>
                  <a:pt x="13100" y="4843"/>
                  <a:pt x="13100" y="4843"/>
                  <a:pt x="13100" y="4843"/>
                </a:cubicBezTo>
                <a:cubicBezTo>
                  <a:pt x="13076" y="4840"/>
                  <a:pt x="13076" y="4840"/>
                  <a:pt x="13076" y="4840"/>
                </a:cubicBezTo>
                <a:cubicBezTo>
                  <a:pt x="13076" y="4840"/>
                  <a:pt x="13050" y="4821"/>
                  <a:pt x="13045" y="4821"/>
                </a:cubicBezTo>
                <a:cubicBezTo>
                  <a:pt x="13041" y="4822"/>
                  <a:pt x="13007" y="4818"/>
                  <a:pt x="13007" y="4818"/>
                </a:cubicBezTo>
                <a:cubicBezTo>
                  <a:pt x="13007" y="4818"/>
                  <a:pt x="12999" y="4796"/>
                  <a:pt x="12992" y="4793"/>
                </a:cubicBezTo>
                <a:cubicBezTo>
                  <a:pt x="12986" y="4789"/>
                  <a:pt x="12984" y="4803"/>
                  <a:pt x="12984" y="4803"/>
                </a:cubicBezTo>
                <a:cubicBezTo>
                  <a:pt x="12984" y="4803"/>
                  <a:pt x="12959" y="4790"/>
                  <a:pt x="12953" y="4795"/>
                </a:cubicBezTo>
                <a:cubicBezTo>
                  <a:pt x="12947" y="4799"/>
                  <a:pt x="12956" y="4807"/>
                  <a:pt x="12956" y="4807"/>
                </a:cubicBezTo>
                <a:cubicBezTo>
                  <a:pt x="12956" y="4807"/>
                  <a:pt x="12943" y="4806"/>
                  <a:pt x="12941" y="4811"/>
                </a:cubicBezTo>
                <a:cubicBezTo>
                  <a:pt x="12938" y="4817"/>
                  <a:pt x="12955" y="4823"/>
                  <a:pt x="12966" y="4826"/>
                </a:cubicBezTo>
                <a:cubicBezTo>
                  <a:pt x="12977" y="4829"/>
                  <a:pt x="12983" y="4821"/>
                  <a:pt x="12983" y="4821"/>
                </a:cubicBezTo>
                <a:cubicBezTo>
                  <a:pt x="13005" y="4830"/>
                  <a:pt x="13005" y="4830"/>
                  <a:pt x="13005" y="4830"/>
                </a:cubicBezTo>
                <a:cubicBezTo>
                  <a:pt x="13005" y="4830"/>
                  <a:pt x="12983" y="4843"/>
                  <a:pt x="12971" y="4848"/>
                </a:cubicBezTo>
                <a:cubicBezTo>
                  <a:pt x="12960" y="4853"/>
                  <a:pt x="12926" y="4849"/>
                  <a:pt x="12918" y="4851"/>
                </a:cubicBezTo>
                <a:cubicBezTo>
                  <a:pt x="12911" y="4853"/>
                  <a:pt x="12861" y="4879"/>
                  <a:pt x="12861" y="4879"/>
                </a:cubicBezTo>
                <a:cubicBezTo>
                  <a:pt x="12861" y="4879"/>
                  <a:pt x="12855" y="4896"/>
                  <a:pt x="12854" y="4907"/>
                </a:cubicBezTo>
                <a:cubicBezTo>
                  <a:pt x="12853" y="4917"/>
                  <a:pt x="12874" y="4926"/>
                  <a:pt x="12874" y="4926"/>
                </a:cubicBezTo>
                <a:cubicBezTo>
                  <a:pt x="12841" y="4928"/>
                  <a:pt x="12841" y="4928"/>
                  <a:pt x="12841" y="4928"/>
                </a:cubicBezTo>
                <a:cubicBezTo>
                  <a:pt x="12818" y="4950"/>
                  <a:pt x="12818" y="4950"/>
                  <a:pt x="12818" y="4950"/>
                </a:cubicBezTo>
                <a:cubicBezTo>
                  <a:pt x="12818" y="4950"/>
                  <a:pt x="12822" y="4970"/>
                  <a:pt x="12816" y="4977"/>
                </a:cubicBezTo>
                <a:cubicBezTo>
                  <a:pt x="12810" y="4984"/>
                  <a:pt x="12833" y="4991"/>
                  <a:pt x="12842" y="4996"/>
                </a:cubicBezTo>
                <a:cubicBezTo>
                  <a:pt x="12852" y="5000"/>
                  <a:pt x="12848" y="5021"/>
                  <a:pt x="12848" y="5021"/>
                </a:cubicBezTo>
                <a:cubicBezTo>
                  <a:pt x="12833" y="5007"/>
                  <a:pt x="12833" y="5007"/>
                  <a:pt x="12833" y="5007"/>
                </a:cubicBezTo>
                <a:cubicBezTo>
                  <a:pt x="12813" y="5009"/>
                  <a:pt x="12813" y="5009"/>
                  <a:pt x="12813" y="5009"/>
                </a:cubicBezTo>
                <a:cubicBezTo>
                  <a:pt x="12805" y="5021"/>
                  <a:pt x="12805" y="5021"/>
                  <a:pt x="12805" y="5021"/>
                </a:cubicBezTo>
                <a:cubicBezTo>
                  <a:pt x="12778" y="5000"/>
                  <a:pt x="12778" y="5000"/>
                  <a:pt x="12778" y="5000"/>
                </a:cubicBezTo>
                <a:cubicBezTo>
                  <a:pt x="12775" y="5021"/>
                  <a:pt x="12775" y="5021"/>
                  <a:pt x="12775" y="5021"/>
                </a:cubicBezTo>
                <a:cubicBezTo>
                  <a:pt x="12759" y="5026"/>
                  <a:pt x="12759" y="5026"/>
                  <a:pt x="12759" y="5026"/>
                </a:cubicBezTo>
                <a:cubicBezTo>
                  <a:pt x="12762" y="5044"/>
                  <a:pt x="12762" y="5044"/>
                  <a:pt x="12762" y="5044"/>
                </a:cubicBezTo>
                <a:cubicBezTo>
                  <a:pt x="12743" y="5041"/>
                  <a:pt x="12743" y="5041"/>
                  <a:pt x="12743" y="5041"/>
                </a:cubicBezTo>
                <a:cubicBezTo>
                  <a:pt x="12762" y="4997"/>
                  <a:pt x="12762" y="4997"/>
                  <a:pt x="12762" y="4997"/>
                </a:cubicBezTo>
                <a:cubicBezTo>
                  <a:pt x="12762" y="4997"/>
                  <a:pt x="12757" y="4991"/>
                  <a:pt x="12754" y="4980"/>
                </a:cubicBezTo>
                <a:cubicBezTo>
                  <a:pt x="12752" y="4968"/>
                  <a:pt x="12733" y="4970"/>
                  <a:pt x="12733" y="4970"/>
                </a:cubicBezTo>
                <a:cubicBezTo>
                  <a:pt x="12722" y="4952"/>
                  <a:pt x="12722" y="4952"/>
                  <a:pt x="12722" y="4952"/>
                </a:cubicBezTo>
                <a:cubicBezTo>
                  <a:pt x="12722" y="4952"/>
                  <a:pt x="12731" y="4932"/>
                  <a:pt x="12720" y="4924"/>
                </a:cubicBezTo>
                <a:cubicBezTo>
                  <a:pt x="12708" y="4916"/>
                  <a:pt x="12693" y="4927"/>
                  <a:pt x="12693" y="4934"/>
                </a:cubicBezTo>
                <a:cubicBezTo>
                  <a:pt x="12692" y="4941"/>
                  <a:pt x="12698" y="4941"/>
                  <a:pt x="12698" y="4941"/>
                </a:cubicBezTo>
                <a:cubicBezTo>
                  <a:pt x="12694" y="4950"/>
                  <a:pt x="12694" y="4950"/>
                  <a:pt x="12694" y="4950"/>
                </a:cubicBezTo>
                <a:cubicBezTo>
                  <a:pt x="12674" y="4949"/>
                  <a:pt x="12674" y="4949"/>
                  <a:pt x="12674" y="4949"/>
                </a:cubicBezTo>
                <a:cubicBezTo>
                  <a:pt x="12677" y="4967"/>
                  <a:pt x="12677" y="4967"/>
                  <a:pt x="12677" y="4967"/>
                </a:cubicBezTo>
                <a:cubicBezTo>
                  <a:pt x="12664" y="4961"/>
                  <a:pt x="12664" y="4961"/>
                  <a:pt x="12664" y="4961"/>
                </a:cubicBezTo>
                <a:cubicBezTo>
                  <a:pt x="12652" y="4966"/>
                  <a:pt x="12652" y="4966"/>
                  <a:pt x="12652" y="4966"/>
                </a:cubicBezTo>
                <a:cubicBezTo>
                  <a:pt x="12652" y="4966"/>
                  <a:pt x="12657" y="4974"/>
                  <a:pt x="12655" y="4984"/>
                </a:cubicBezTo>
                <a:cubicBezTo>
                  <a:pt x="12653" y="4995"/>
                  <a:pt x="12637" y="5003"/>
                  <a:pt x="12637" y="5003"/>
                </a:cubicBezTo>
                <a:cubicBezTo>
                  <a:pt x="12642" y="4979"/>
                  <a:pt x="12642" y="4979"/>
                  <a:pt x="12642" y="4979"/>
                </a:cubicBezTo>
                <a:cubicBezTo>
                  <a:pt x="12630" y="4994"/>
                  <a:pt x="12630" y="4994"/>
                  <a:pt x="12630" y="4994"/>
                </a:cubicBezTo>
                <a:cubicBezTo>
                  <a:pt x="12630" y="4994"/>
                  <a:pt x="12619" y="4992"/>
                  <a:pt x="12612" y="5002"/>
                </a:cubicBezTo>
                <a:cubicBezTo>
                  <a:pt x="12605" y="5012"/>
                  <a:pt x="12616" y="5033"/>
                  <a:pt x="12616" y="5033"/>
                </a:cubicBezTo>
                <a:cubicBezTo>
                  <a:pt x="12585" y="5020"/>
                  <a:pt x="12585" y="5020"/>
                  <a:pt x="12585" y="5020"/>
                </a:cubicBezTo>
                <a:cubicBezTo>
                  <a:pt x="12582" y="5044"/>
                  <a:pt x="12582" y="5044"/>
                  <a:pt x="12582" y="5044"/>
                </a:cubicBezTo>
                <a:cubicBezTo>
                  <a:pt x="12571" y="5046"/>
                  <a:pt x="12571" y="5046"/>
                  <a:pt x="12571" y="5046"/>
                </a:cubicBezTo>
                <a:cubicBezTo>
                  <a:pt x="12582" y="5063"/>
                  <a:pt x="12582" y="5063"/>
                  <a:pt x="12582" y="5063"/>
                </a:cubicBezTo>
                <a:cubicBezTo>
                  <a:pt x="12594" y="5062"/>
                  <a:pt x="12594" y="5062"/>
                  <a:pt x="12594" y="5062"/>
                </a:cubicBezTo>
                <a:cubicBezTo>
                  <a:pt x="12591" y="5073"/>
                  <a:pt x="12591" y="5073"/>
                  <a:pt x="12591" y="5073"/>
                </a:cubicBezTo>
                <a:cubicBezTo>
                  <a:pt x="12544" y="5077"/>
                  <a:pt x="12544" y="5077"/>
                  <a:pt x="12544" y="5077"/>
                </a:cubicBezTo>
                <a:cubicBezTo>
                  <a:pt x="12544" y="5077"/>
                  <a:pt x="12530" y="5067"/>
                  <a:pt x="12520" y="5075"/>
                </a:cubicBezTo>
                <a:cubicBezTo>
                  <a:pt x="12510" y="5084"/>
                  <a:pt x="12526" y="5102"/>
                  <a:pt x="12526" y="5102"/>
                </a:cubicBezTo>
                <a:cubicBezTo>
                  <a:pt x="12528" y="5124"/>
                  <a:pt x="12528" y="5124"/>
                  <a:pt x="12528" y="5124"/>
                </a:cubicBezTo>
                <a:cubicBezTo>
                  <a:pt x="12522" y="5138"/>
                  <a:pt x="12522" y="5138"/>
                  <a:pt x="12522" y="5138"/>
                </a:cubicBezTo>
                <a:cubicBezTo>
                  <a:pt x="12526" y="5164"/>
                  <a:pt x="12526" y="5164"/>
                  <a:pt x="12526" y="5164"/>
                </a:cubicBezTo>
                <a:cubicBezTo>
                  <a:pt x="12515" y="5165"/>
                  <a:pt x="12515" y="5165"/>
                  <a:pt x="12515" y="5165"/>
                </a:cubicBezTo>
                <a:cubicBezTo>
                  <a:pt x="12512" y="5113"/>
                  <a:pt x="12512" y="5113"/>
                  <a:pt x="12512" y="5113"/>
                </a:cubicBezTo>
                <a:cubicBezTo>
                  <a:pt x="12501" y="5102"/>
                  <a:pt x="12501" y="5102"/>
                  <a:pt x="12501" y="5102"/>
                </a:cubicBezTo>
                <a:cubicBezTo>
                  <a:pt x="12499" y="5081"/>
                  <a:pt x="12499" y="5081"/>
                  <a:pt x="12499" y="5081"/>
                </a:cubicBezTo>
                <a:cubicBezTo>
                  <a:pt x="12486" y="5082"/>
                  <a:pt x="12486" y="5082"/>
                  <a:pt x="12486" y="5082"/>
                </a:cubicBezTo>
                <a:cubicBezTo>
                  <a:pt x="12475" y="5097"/>
                  <a:pt x="12475" y="5097"/>
                  <a:pt x="12475" y="5097"/>
                </a:cubicBezTo>
                <a:cubicBezTo>
                  <a:pt x="12475" y="5097"/>
                  <a:pt x="12462" y="5109"/>
                  <a:pt x="12443" y="5125"/>
                </a:cubicBezTo>
                <a:cubicBezTo>
                  <a:pt x="12425" y="5141"/>
                  <a:pt x="12437" y="5174"/>
                  <a:pt x="12437" y="5174"/>
                </a:cubicBezTo>
                <a:cubicBezTo>
                  <a:pt x="12437" y="5174"/>
                  <a:pt x="12454" y="5179"/>
                  <a:pt x="12452" y="5188"/>
                </a:cubicBezTo>
                <a:cubicBezTo>
                  <a:pt x="12449" y="5198"/>
                  <a:pt x="12416" y="5210"/>
                  <a:pt x="12410" y="5213"/>
                </a:cubicBezTo>
                <a:cubicBezTo>
                  <a:pt x="12404" y="5216"/>
                  <a:pt x="12407" y="5226"/>
                  <a:pt x="12407" y="5226"/>
                </a:cubicBezTo>
                <a:cubicBezTo>
                  <a:pt x="12407" y="5226"/>
                  <a:pt x="12386" y="5245"/>
                  <a:pt x="12369" y="5259"/>
                </a:cubicBezTo>
                <a:cubicBezTo>
                  <a:pt x="12351" y="5272"/>
                  <a:pt x="12299" y="5277"/>
                  <a:pt x="12299" y="5277"/>
                </a:cubicBezTo>
                <a:cubicBezTo>
                  <a:pt x="12265" y="5270"/>
                  <a:pt x="12265" y="5270"/>
                  <a:pt x="12265" y="5270"/>
                </a:cubicBezTo>
                <a:cubicBezTo>
                  <a:pt x="12238" y="5284"/>
                  <a:pt x="12238" y="5284"/>
                  <a:pt x="12238" y="5284"/>
                </a:cubicBezTo>
                <a:cubicBezTo>
                  <a:pt x="12201" y="5289"/>
                  <a:pt x="12201" y="5289"/>
                  <a:pt x="12201" y="5289"/>
                </a:cubicBezTo>
                <a:cubicBezTo>
                  <a:pt x="12196" y="5294"/>
                  <a:pt x="12196" y="5294"/>
                  <a:pt x="12196" y="5294"/>
                </a:cubicBezTo>
                <a:cubicBezTo>
                  <a:pt x="12196" y="5294"/>
                  <a:pt x="12186" y="5294"/>
                  <a:pt x="12177" y="5299"/>
                </a:cubicBezTo>
                <a:cubicBezTo>
                  <a:pt x="12168" y="5303"/>
                  <a:pt x="12157" y="5314"/>
                  <a:pt x="12157" y="5314"/>
                </a:cubicBezTo>
                <a:cubicBezTo>
                  <a:pt x="12157" y="5314"/>
                  <a:pt x="12138" y="5315"/>
                  <a:pt x="12124" y="5319"/>
                </a:cubicBezTo>
                <a:cubicBezTo>
                  <a:pt x="12110" y="5323"/>
                  <a:pt x="12094" y="5352"/>
                  <a:pt x="12094" y="5352"/>
                </a:cubicBezTo>
                <a:cubicBezTo>
                  <a:pt x="12094" y="5352"/>
                  <a:pt x="12059" y="5360"/>
                  <a:pt x="12052" y="5364"/>
                </a:cubicBezTo>
                <a:cubicBezTo>
                  <a:pt x="12044" y="5369"/>
                  <a:pt x="12009" y="5414"/>
                  <a:pt x="12009" y="5414"/>
                </a:cubicBezTo>
                <a:cubicBezTo>
                  <a:pt x="12015" y="5370"/>
                  <a:pt x="12015" y="5370"/>
                  <a:pt x="12015" y="5370"/>
                </a:cubicBezTo>
                <a:cubicBezTo>
                  <a:pt x="12003" y="5377"/>
                  <a:pt x="12003" y="5377"/>
                  <a:pt x="12003" y="5377"/>
                </a:cubicBezTo>
                <a:cubicBezTo>
                  <a:pt x="11989" y="5414"/>
                  <a:pt x="11989" y="5414"/>
                  <a:pt x="11989" y="5414"/>
                </a:cubicBezTo>
                <a:cubicBezTo>
                  <a:pt x="11989" y="5414"/>
                  <a:pt x="11975" y="5440"/>
                  <a:pt x="11968" y="5455"/>
                </a:cubicBezTo>
                <a:cubicBezTo>
                  <a:pt x="11962" y="5470"/>
                  <a:pt x="11985" y="5476"/>
                  <a:pt x="11985" y="5476"/>
                </a:cubicBezTo>
                <a:cubicBezTo>
                  <a:pt x="11985" y="5476"/>
                  <a:pt x="11965" y="5497"/>
                  <a:pt x="11955" y="5506"/>
                </a:cubicBezTo>
                <a:cubicBezTo>
                  <a:pt x="11944" y="5515"/>
                  <a:pt x="11964" y="5554"/>
                  <a:pt x="11965" y="5560"/>
                </a:cubicBezTo>
                <a:cubicBezTo>
                  <a:pt x="11965" y="5567"/>
                  <a:pt x="11990" y="5610"/>
                  <a:pt x="11984" y="5614"/>
                </a:cubicBezTo>
                <a:cubicBezTo>
                  <a:pt x="11978" y="5619"/>
                  <a:pt x="11954" y="5578"/>
                  <a:pt x="11954" y="5578"/>
                </a:cubicBezTo>
                <a:cubicBezTo>
                  <a:pt x="11942" y="5576"/>
                  <a:pt x="11942" y="5576"/>
                  <a:pt x="11942" y="5576"/>
                </a:cubicBezTo>
                <a:cubicBezTo>
                  <a:pt x="11952" y="5606"/>
                  <a:pt x="11952" y="5606"/>
                  <a:pt x="11952" y="5606"/>
                </a:cubicBezTo>
                <a:cubicBezTo>
                  <a:pt x="11929" y="5586"/>
                  <a:pt x="11929" y="5586"/>
                  <a:pt x="11929" y="5586"/>
                </a:cubicBezTo>
                <a:cubicBezTo>
                  <a:pt x="11929" y="5586"/>
                  <a:pt x="11925" y="5609"/>
                  <a:pt x="11928" y="5623"/>
                </a:cubicBezTo>
                <a:cubicBezTo>
                  <a:pt x="11931" y="5637"/>
                  <a:pt x="11954" y="5672"/>
                  <a:pt x="11954" y="5672"/>
                </a:cubicBezTo>
                <a:cubicBezTo>
                  <a:pt x="11954" y="5672"/>
                  <a:pt x="11943" y="5694"/>
                  <a:pt x="11941" y="5702"/>
                </a:cubicBezTo>
                <a:cubicBezTo>
                  <a:pt x="11939" y="5710"/>
                  <a:pt x="11969" y="5733"/>
                  <a:pt x="11970" y="5739"/>
                </a:cubicBezTo>
                <a:cubicBezTo>
                  <a:pt x="11971" y="5746"/>
                  <a:pt x="11972" y="5768"/>
                  <a:pt x="11966" y="5776"/>
                </a:cubicBezTo>
                <a:cubicBezTo>
                  <a:pt x="11961" y="5784"/>
                  <a:pt x="11974" y="5830"/>
                  <a:pt x="11974" y="5830"/>
                </a:cubicBezTo>
                <a:cubicBezTo>
                  <a:pt x="11974" y="5830"/>
                  <a:pt x="11970" y="5832"/>
                  <a:pt x="11962" y="5838"/>
                </a:cubicBezTo>
                <a:cubicBezTo>
                  <a:pt x="11955" y="5844"/>
                  <a:pt x="11971" y="5880"/>
                  <a:pt x="11971" y="5880"/>
                </a:cubicBezTo>
                <a:cubicBezTo>
                  <a:pt x="11971" y="5880"/>
                  <a:pt x="11991" y="5889"/>
                  <a:pt x="11993" y="5906"/>
                </a:cubicBezTo>
                <a:cubicBezTo>
                  <a:pt x="11995" y="5922"/>
                  <a:pt x="11966" y="5951"/>
                  <a:pt x="11966" y="5951"/>
                </a:cubicBezTo>
                <a:cubicBezTo>
                  <a:pt x="11966" y="5951"/>
                  <a:pt x="11975" y="5984"/>
                  <a:pt x="11958" y="6001"/>
                </a:cubicBezTo>
                <a:cubicBezTo>
                  <a:pt x="11941" y="6017"/>
                  <a:pt x="11910" y="6009"/>
                  <a:pt x="11910" y="6009"/>
                </a:cubicBezTo>
                <a:cubicBezTo>
                  <a:pt x="11906" y="6041"/>
                  <a:pt x="11906" y="6041"/>
                  <a:pt x="11906" y="6041"/>
                </a:cubicBezTo>
                <a:cubicBezTo>
                  <a:pt x="11906" y="6041"/>
                  <a:pt x="11938" y="6049"/>
                  <a:pt x="11947" y="6054"/>
                </a:cubicBezTo>
                <a:cubicBezTo>
                  <a:pt x="11956" y="6060"/>
                  <a:pt x="11962" y="6070"/>
                  <a:pt x="11962" y="6070"/>
                </a:cubicBezTo>
                <a:cubicBezTo>
                  <a:pt x="11979" y="6068"/>
                  <a:pt x="11979" y="6068"/>
                  <a:pt x="11979" y="6068"/>
                </a:cubicBezTo>
                <a:cubicBezTo>
                  <a:pt x="11979" y="6068"/>
                  <a:pt x="11988" y="6077"/>
                  <a:pt x="12002" y="6082"/>
                </a:cubicBezTo>
                <a:cubicBezTo>
                  <a:pt x="12015" y="6087"/>
                  <a:pt x="12046" y="6077"/>
                  <a:pt x="12059" y="6076"/>
                </a:cubicBezTo>
                <a:cubicBezTo>
                  <a:pt x="12071" y="6076"/>
                  <a:pt x="12061" y="6060"/>
                  <a:pt x="12061" y="6060"/>
                </a:cubicBezTo>
                <a:cubicBezTo>
                  <a:pt x="12086" y="6062"/>
                  <a:pt x="12086" y="6062"/>
                  <a:pt x="12086" y="6062"/>
                </a:cubicBezTo>
                <a:cubicBezTo>
                  <a:pt x="12092" y="6050"/>
                  <a:pt x="12092" y="6050"/>
                  <a:pt x="12092" y="6050"/>
                </a:cubicBezTo>
                <a:cubicBezTo>
                  <a:pt x="12119" y="6046"/>
                  <a:pt x="12119" y="6046"/>
                  <a:pt x="12119" y="6046"/>
                </a:cubicBezTo>
                <a:cubicBezTo>
                  <a:pt x="12119" y="6046"/>
                  <a:pt x="12143" y="6021"/>
                  <a:pt x="12156" y="6020"/>
                </a:cubicBezTo>
                <a:cubicBezTo>
                  <a:pt x="12168" y="6020"/>
                  <a:pt x="12180" y="6035"/>
                  <a:pt x="12187" y="6033"/>
                </a:cubicBezTo>
                <a:cubicBezTo>
                  <a:pt x="12195" y="6031"/>
                  <a:pt x="12232" y="6013"/>
                  <a:pt x="12232" y="6013"/>
                </a:cubicBezTo>
                <a:cubicBezTo>
                  <a:pt x="12232" y="6013"/>
                  <a:pt x="12254" y="6023"/>
                  <a:pt x="12265" y="6021"/>
                </a:cubicBezTo>
                <a:cubicBezTo>
                  <a:pt x="12276" y="6020"/>
                  <a:pt x="12283" y="6010"/>
                  <a:pt x="12290" y="6009"/>
                </a:cubicBezTo>
                <a:cubicBezTo>
                  <a:pt x="12298" y="6009"/>
                  <a:pt x="12317" y="6021"/>
                  <a:pt x="12332" y="6018"/>
                </a:cubicBezTo>
                <a:cubicBezTo>
                  <a:pt x="12347" y="6015"/>
                  <a:pt x="12344" y="5996"/>
                  <a:pt x="12344" y="5996"/>
                </a:cubicBezTo>
                <a:cubicBezTo>
                  <a:pt x="12344" y="5996"/>
                  <a:pt x="12356" y="5993"/>
                  <a:pt x="12360" y="5990"/>
                </a:cubicBezTo>
                <a:cubicBezTo>
                  <a:pt x="12365" y="5987"/>
                  <a:pt x="12371" y="5960"/>
                  <a:pt x="12384" y="5948"/>
                </a:cubicBezTo>
                <a:cubicBezTo>
                  <a:pt x="12397" y="5936"/>
                  <a:pt x="12430" y="5944"/>
                  <a:pt x="12441" y="5941"/>
                </a:cubicBezTo>
                <a:cubicBezTo>
                  <a:pt x="12451" y="5939"/>
                  <a:pt x="12485" y="5920"/>
                  <a:pt x="12500" y="5918"/>
                </a:cubicBezTo>
                <a:cubicBezTo>
                  <a:pt x="12516" y="5916"/>
                  <a:pt x="12518" y="5923"/>
                  <a:pt x="12537" y="5926"/>
                </a:cubicBezTo>
                <a:cubicBezTo>
                  <a:pt x="12556" y="5929"/>
                  <a:pt x="12603" y="5896"/>
                  <a:pt x="12622" y="5890"/>
                </a:cubicBezTo>
                <a:cubicBezTo>
                  <a:pt x="12642" y="5884"/>
                  <a:pt x="12725" y="5878"/>
                  <a:pt x="12725" y="5878"/>
                </a:cubicBezTo>
                <a:cubicBezTo>
                  <a:pt x="12732" y="5871"/>
                  <a:pt x="12732" y="5871"/>
                  <a:pt x="12732" y="5871"/>
                </a:cubicBezTo>
                <a:cubicBezTo>
                  <a:pt x="12732" y="5871"/>
                  <a:pt x="12760" y="5896"/>
                  <a:pt x="12778" y="5903"/>
                </a:cubicBezTo>
                <a:cubicBezTo>
                  <a:pt x="12795" y="5910"/>
                  <a:pt x="12802" y="5901"/>
                  <a:pt x="12802" y="5901"/>
                </a:cubicBezTo>
                <a:cubicBezTo>
                  <a:pt x="12802" y="5901"/>
                  <a:pt x="12805" y="5918"/>
                  <a:pt x="12813" y="5921"/>
                </a:cubicBezTo>
                <a:cubicBezTo>
                  <a:pt x="12821" y="5924"/>
                  <a:pt x="12826" y="5917"/>
                  <a:pt x="12826" y="5917"/>
                </a:cubicBezTo>
                <a:cubicBezTo>
                  <a:pt x="12829" y="5932"/>
                  <a:pt x="12829" y="5932"/>
                  <a:pt x="12829" y="5932"/>
                </a:cubicBezTo>
                <a:cubicBezTo>
                  <a:pt x="12829" y="5932"/>
                  <a:pt x="12841" y="5930"/>
                  <a:pt x="12842" y="5939"/>
                </a:cubicBezTo>
                <a:cubicBezTo>
                  <a:pt x="12843" y="5947"/>
                  <a:pt x="12824" y="5971"/>
                  <a:pt x="12824" y="5971"/>
                </a:cubicBezTo>
                <a:cubicBezTo>
                  <a:pt x="12838" y="5990"/>
                  <a:pt x="12838" y="5990"/>
                  <a:pt x="12838" y="5990"/>
                </a:cubicBezTo>
                <a:cubicBezTo>
                  <a:pt x="12847" y="5981"/>
                  <a:pt x="12847" y="5981"/>
                  <a:pt x="12847" y="5981"/>
                </a:cubicBezTo>
                <a:cubicBezTo>
                  <a:pt x="12860" y="6008"/>
                  <a:pt x="12860" y="6008"/>
                  <a:pt x="12860" y="6008"/>
                </a:cubicBezTo>
                <a:cubicBezTo>
                  <a:pt x="12860" y="6008"/>
                  <a:pt x="12869" y="6035"/>
                  <a:pt x="12870" y="6044"/>
                </a:cubicBezTo>
                <a:cubicBezTo>
                  <a:pt x="12871" y="6052"/>
                  <a:pt x="12843" y="6045"/>
                  <a:pt x="12843" y="6045"/>
                </a:cubicBezTo>
                <a:cubicBezTo>
                  <a:pt x="12850" y="6068"/>
                  <a:pt x="12850" y="6068"/>
                  <a:pt x="12850" y="6068"/>
                </a:cubicBezTo>
                <a:cubicBezTo>
                  <a:pt x="12850" y="6068"/>
                  <a:pt x="12859" y="6068"/>
                  <a:pt x="12868" y="6069"/>
                </a:cubicBezTo>
                <a:cubicBezTo>
                  <a:pt x="12877" y="6069"/>
                  <a:pt x="12876" y="6076"/>
                  <a:pt x="12876" y="6076"/>
                </a:cubicBezTo>
                <a:cubicBezTo>
                  <a:pt x="12889" y="6073"/>
                  <a:pt x="12889" y="6073"/>
                  <a:pt x="12889" y="6073"/>
                </a:cubicBezTo>
                <a:cubicBezTo>
                  <a:pt x="12889" y="6073"/>
                  <a:pt x="12885" y="6059"/>
                  <a:pt x="12885" y="6048"/>
                </a:cubicBezTo>
                <a:cubicBezTo>
                  <a:pt x="12886" y="6037"/>
                  <a:pt x="12904" y="6028"/>
                  <a:pt x="12916" y="6026"/>
                </a:cubicBezTo>
                <a:cubicBezTo>
                  <a:pt x="12928" y="6023"/>
                  <a:pt x="12951" y="5987"/>
                  <a:pt x="12951" y="5987"/>
                </a:cubicBezTo>
                <a:cubicBezTo>
                  <a:pt x="12966" y="5989"/>
                  <a:pt x="12966" y="5989"/>
                  <a:pt x="12966" y="5989"/>
                </a:cubicBezTo>
                <a:cubicBezTo>
                  <a:pt x="12980" y="5956"/>
                  <a:pt x="12980" y="5956"/>
                  <a:pt x="12980" y="5956"/>
                </a:cubicBezTo>
                <a:cubicBezTo>
                  <a:pt x="12980" y="5956"/>
                  <a:pt x="12999" y="5953"/>
                  <a:pt x="13008" y="5952"/>
                </a:cubicBezTo>
                <a:cubicBezTo>
                  <a:pt x="13016" y="5951"/>
                  <a:pt x="13021" y="5921"/>
                  <a:pt x="13021" y="5921"/>
                </a:cubicBezTo>
                <a:cubicBezTo>
                  <a:pt x="13021" y="5921"/>
                  <a:pt x="13026" y="5945"/>
                  <a:pt x="13027" y="5952"/>
                </a:cubicBezTo>
                <a:cubicBezTo>
                  <a:pt x="13028" y="5960"/>
                  <a:pt x="12999" y="5974"/>
                  <a:pt x="12999" y="5974"/>
                </a:cubicBezTo>
                <a:cubicBezTo>
                  <a:pt x="12989" y="5975"/>
                  <a:pt x="12989" y="5975"/>
                  <a:pt x="12989" y="5975"/>
                </a:cubicBezTo>
                <a:cubicBezTo>
                  <a:pt x="12984" y="5982"/>
                  <a:pt x="12984" y="5982"/>
                  <a:pt x="12984" y="5982"/>
                </a:cubicBezTo>
                <a:cubicBezTo>
                  <a:pt x="12995" y="6005"/>
                  <a:pt x="12995" y="6005"/>
                  <a:pt x="12995" y="6005"/>
                </a:cubicBezTo>
                <a:cubicBezTo>
                  <a:pt x="12995" y="6005"/>
                  <a:pt x="12985" y="6009"/>
                  <a:pt x="12978" y="6013"/>
                </a:cubicBezTo>
                <a:cubicBezTo>
                  <a:pt x="12971" y="6018"/>
                  <a:pt x="12953" y="6041"/>
                  <a:pt x="12953" y="6041"/>
                </a:cubicBezTo>
                <a:cubicBezTo>
                  <a:pt x="12953" y="6041"/>
                  <a:pt x="12948" y="6060"/>
                  <a:pt x="12941" y="6064"/>
                </a:cubicBezTo>
                <a:cubicBezTo>
                  <a:pt x="12934" y="6069"/>
                  <a:pt x="12910" y="6078"/>
                  <a:pt x="12917" y="6084"/>
                </a:cubicBezTo>
                <a:cubicBezTo>
                  <a:pt x="12924" y="6091"/>
                  <a:pt x="12951" y="6081"/>
                  <a:pt x="12960" y="6078"/>
                </a:cubicBezTo>
                <a:cubicBezTo>
                  <a:pt x="12968" y="6074"/>
                  <a:pt x="12969" y="6061"/>
                  <a:pt x="12975" y="6052"/>
                </a:cubicBezTo>
                <a:cubicBezTo>
                  <a:pt x="12982" y="6042"/>
                  <a:pt x="12996" y="6032"/>
                  <a:pt x="12996" y="6032"/>
                </a:cubicBezTo>
                <a:cubicBezTo>
                  <a:pt x="12996" y="6032"/>
                  <a:pt x="12999" y="6057"/>
                  <a:pt x="13001" y="6063"/>
                </a:cubicBezTo>
                <a:cubicBezTo>
                  <a:pt x="13003" y="6069"/>
                  <a:pt x="12990" y="6080"/>
                  <a:pt x="12981" y="6085"/>
                </a:cubicBezTo>
                <a:cubicBezTo>
                  <a:pt x="12973" y="6090"/>
                  <a:pt x="12972" y="6098"/>
                  <a:pt x="12978" y="6104"/>
                </a:cubicBezTo>
                <a:cubicBezTo>
                  <a:pt x="12985" y="6109"/>
                  <a:pt x="13016" y="6109"/>
                  <a:pt x="13016" y="6109"/>
                </a:cubicBezTo>
                <a:cubicBezTo>
                  <a:pt x="13021" y="6116"/>
                  <a:pt x="13021" y="6116"/>
                  <a:pt x="13021" y="6116"/>
                </a:cubicBezTo>
                <a:cubicBezTo>
                  <a:pt x="13006" y="6129"/>
                  <a:pt x="13006" y="6129"/>
                  <a:pt x="13006" y="6129"/>
                </a:cubicBezTo>
                <a:cubicBezTo>
                  <a:pt x="13006" y="6129"/>
                  <a:pt x="13022" y="6158"/>
                  <a:pt x="13024" y="6168"/>
                </a:cubicBezTo>
                <a:cubicBezTo>
                  <a:pt x="13027" y="6179"/>
                  <a:pt x="13003" y="6195"/>
                  <a:pt x="12994" y="6206"/>
                </a:cubicBezTo>
                <a:cubicBezTo>
                  <a:pt x="12984" y="6217"/>
                  <a:pt x="13016" y="6239"/>
                  <a:pt x="13024" y="6242"/>
                </a:cubicBezTo>
                <a:cubicBezTo>
                  <a:pt x="13031" y="6245"/>
                  <a:pt x="13045" y="6265"/>
                  <a:pt x="13060" y="6270"/>
                </a:cubicBezTo>
                <a:cubicBezTo>
                  <a:pt x="13075" y="6275"/>
                  <a:pt x="13086" y="6266"/>
                  <a:pt x="13100" y="6269"/>
                </a:cubicBezTo>
                <a:cubicBezTo>
                  <a:pt x="13113" y="6272"/>
                  <a:pt x="13116" y="6289"/>
                  <a:pt x="13135" y="6292"/>
                </a:cubicBezTo>
                <a:cubicBezTo>
                  <a:pt x="13155" y="6296"/>
                  <a:pt x="13203" y="6263"/>
                  <a:pt x="13203" y="6263"/>
                </a:cubicBezTo>
                <a:cubicBezTo>
                  <a:pt x="13203" y="6263"/>
                  <a:pt x="13196" y="6249"/>
                  <a:pt x="13211" y="6240"/>
                </a:cubicBezTo>
                <a:cubicBezTo>
                  <a:pt x="13226" y="6231"/>
                  <a:pt x="13225" y="6267"/>
                  <a:pt x="13225" y="6267"/>
                </a:cubicBezTo>
                <a:cubicBezTo>
                  <a:pt x="13236" y="6266"/>
                  <a:pt x="13236" y="6266"/>
                  <a:pt x="13236" y="6266"/>
                </a:cubicBezTo>
                <a:cubicBezTo>
                  <a:pt x="13226" y="6282"/>
                  <a:pt x="13226" y="6282"/>
                  <a:pt x="13226" y="6282"/>
                </a:cubicBezTo>
                <a:cubicBezTo>
                  <a:pt x="13239" y="6283"/>
                  <a:pt x="13239" y="6283"/>
                  <a:pt x="13239" y="6283"/>
                </a:cubicBezTo>
                <a:cubicBezTo>
                  <a:pt x="13239" y="6283"/>
                  <a:pt x="13240" y="6295"/>
                  <a:pt x="13247" y="6304"/>
                </a:cubicBezTo>
                <a:cubicBezTo>
                  <a:pt x="13253" y="6312"/>
                  <a:pt x="13260" y="6308"/>
                  <a:pt x="13260" y="6308"/>
                </a:cubicBezTo>
                <a:cubicBezTo>
                  <a:pt x="13266" y="6297"/>
                  <a:pt x="13266" y="6297"/>
                  <a:pt x="13266" y="6297"/>
                </a:cubicBezTo>
                <a:cubicBezTo>
                  <a:pt x="13266" y="6297"/>
                  <a:pt x="13284" y="6295"/>
                  <a:pt x="13294" y="6286"/>
                </a:cubicBezTo>
                <a:cubicBezTo>
                  <a:pt x="13305" y="6278"/>
                  <a:pt x="13349" y="6247"/>
                  <a:pt x="13349" y="6247"/>
                </a:cubicBezTo>
                <a:cubicBezTo>
                  <a:pt x="13344" y="6237"/>
                  <a:pt x="13344" y="6237"/>
                  <a:pt x="13344" y="6237"/>
                </a:cubicBezTo>
                <a:cubicBezTo>
                  <a:pt x="13368" y="6233"/>
                  <a:pt x="13368" y="6233"/>
                  <a:pt x="13368" y="6233"/>
                </a:cubicBezTo>
                <a:cubicBezTo>
                  <a:pt x="13377" y="6241"/>
                  <a:pt x="13377" y="6241"/>
                  <a:pt x="13377" y="6241"/>
                </a:cubicBezTo>
                <a:cubicBezTo>
                  <a:pt x="13377" y="6241"/>
                  <a:pt x="13416" y="6234"/>
                  <a:pt x="13439" y="6226"/>
                </a:cubicBezTo>
                <a:cubicBezTo>
                  <a:pt x="13461" y="6217"/>
                  <a:pt x="13463" y="6173"/>
                  <a:pt x="13466" y="6161"/>
                </a:cubicBezTo>
                <a:cubicBezTo>
                  <a:pt x="13470" y="6150"/>
                  <a:pt x="13496" y="6135"/>
                  <a:pt x="13496" y="6135"/>
                </a:cubicBezTo>
                <a:cubicBezTo>
                  <a:pt x="13496" y="6120"/>
                  <a:pt x="13496" y="6120"/>
                  <a:pt x="13496" y="6120"/>
                </a:cubicBezTo>
                <a:cubicBezTo>
                  <a:pt x="13496" y="6120"/>
                  <a:pt x="13511" y="6114"/>
                  <a:pt x="13519" y="6103"/>
                </a:cubicBezTo>
                <a:cubicBezTo>
                  <a:pt x="13526" y="6093"/>
                  <a:pt x="13537" y="6079"/>
                  <a:pt x="13537" y="6079"/>
                </a:cubicBezTo>
                <a:cubicBezTo>
                  <a:pt x="13537" y="6079"/>
                  <a:pt x="13539" y="6050"/>
                  <a:pt x="13547" y="6040"/>
                </a:cubicBezTo>
                <a:cubicBezTo>
                  <a:pt x="13554" y="6031"/>
                  <a:pt x="13588" y="5993"/>
                  <a:pt x="13601" y="5987"/>
                </a:cubicBezTo>
                <a:cubicBezTo>
                  <a:pt x="13613" y="5981"/>
                  <a:pt x="13615" y="5950"/>
                  <a:pt x="13615" y="5950"/>
                </a:cubicBezTo>
                <a:cubicBezTo>
                  <a:pt x="13615" y="5950"/>
                  <a:pt x="13638" y="5954"/>
                  <a:pt x="13647" y="5944"/>
                </a:cubicBezTo>
                <a:cubicBezTo>
                  <a:pt x="13656" y="5935"/>
                  <a:pt x="13703" y="5876"/>
                  <a:pt x="13706" y="5869"/>
                </a:cubicBezTo>
                <a:cubicBezTo>
                  <a:pt x="13710" y="5863"/>
                  <a:pt x="13709" y="5832"/>
                  <a:pt x="13719" y="5825"/>
                </a:cubicBezTo>
                <a:cubicBezTo>
                  <a:pt x="13728" y="5818"/>
                  <a:pt x="13770" y="5736"/>
                  <a:pt x="13780" y="5717"/>
                </a:cubicBezTo>
                <a:cubicBezTo>
                  <a:pt x="13790" y="5698"/>
                  <a:pt x="13778" y="5685"/>
                  <a:pt x="13777" y="5672"/>
                </a:cubicBezTo>
                <a:cubicBezTo>
                  <a:pt x="13776" y="5659"/>
                  <a:pt x="13786" y="5638"/>
                  <a:pt x="13795" y="5624"/>
                </a:cubicBezTo>
                <a:cubicBezTo>
                  <a:pt x="13804" y="5610"/>
                  <a:pt x="13794" y="5548"/>
                  <a:pt x="13794" y="5548"/>
                </a:cubicBezTo>
                <a:lnTo>
                  <a:pt x="13775" y="5539"/>
                </a:lnTo>
                <a:close/>
                <a:moveTo>
                  <a:pt x="11992" y="4641"/>
                </a:moveTo>
                <a:cubicBezTo>
                  <a:pt x="12002" y="4650"/>
                  <a:pt x="12035" y="4656"/>
                  <a:pt x="12049" y="4657"/>
                </a:cubicBezTo>
                <a:cubicBezTo>
                  <a:pt x="12064" y="4659"/>
                  <a:pt x="12070" y="4656"/>
                  <a:pt x="12092" y="4657"/>
                </a:cubicBezTo>
                <a:cubicBezTo>
                  <a:pt x="12114" y="4659"/>
                  <a:pt x="12132" y="4686"/>
                  <a:pt x="12140" y="4691"/>
                </a:cubicBezTo>
                <a:cubicBezTo>
                  <a:pt x="12149" y="4695"/>
                  <a:pt x="12159" y="4686"/>
                  <a:pt x="12159" y="4686"/>
                </a:cubicBezTo>
                <a:cubicBezTo>
                  <a:pt x="12159" y="4686"/>
                  <a:pt x="12176" y="4695"/>
                  <a:pt x="12176" y="4689"/>
                </a:cubicBezTo>
                <a:cubicBezTo>
                  <a:pt x="12176" y="4678"/>
                  <a:pt x="12165" y="4663"/>
                  <a:pt x="12165" y="4663"/>
                </a:cubicBezTo>
                <a:cubicBezTo>
                  <a:pt x="12165" y="4663"/>
                  <a:pt x="12176" y="4657"/>
                  <a:pt x="12176" y="4638"/>
                </a:cubicBezTo>
                <a:cubicBezTo>
                  <a:pt x="12176" y="4619"/>
                  <a:pt x="12149" y="4619"/>
                  <a:pt x="12134" y="4616"/>
                </a:cubicBezTo>
                <a:cubicBezTo>
                  <a:pt x="12120" y="4613"/>
                  <a:pt x="12121" y="4644"/>
                  <a:pt x="12121" y="4644"/>
                </a:cubicBezTo>
                <a:cubicBezTo>
                  <a:pt x="12096" y="4625"/>
                  <a:pt x="12096" y="4625"/>
                  <a:pt x="12096" y="4625"/>
                </a:cubicBezTo>
                <a:cubicBezTo>
                  <a:pt x="12096" y="4625"/>
                  <a:pt x="12102" y="4609"/>
                  <a:pt x="12102" y="4585"/>
                </a:cubicBezTo>
                <a:cubicBezTo>
                  <a:pt x="12102" y="4562"/>
                  <a:pt x="12054" y="4571"/>
                  <a:pt x="12054" y="4571"/>
                </a:cubicBezTo>
                <a:cubicBezTo>
                  <a:pt x="12033" y="4559"/>
                  <a:pt x="12033" y="4559"/>
                  <a:pt x="12033" y="4559"/>
                </a:cubicBezTo>
                <a:cubicBezTo>
                  <a:pt x="12030" y="4544"/>
                  <a:pt x="12030" y="4544"/>
                  <a:pt x="12030" y="4544"/>
                </a:cubicBezTo>
                <a:cubicBezTo>
                  <a:pt x="12004" y="4544"/>
                  <a:pt x="12004" y="4544"/>
                  <a:pt x="12004" y="4544"/>
                </a:cubicBezTo>
                <a:cubicBezTo>
                  <a:pt x="12004" y="4544"/>
                  <a:pt x="11999" y="4565"/>
                  <a:pt x="11999" y="4569"/>
                </a:cubicBezTo>
                <a:cubicBezTo>
                  <a:pt x="11999" y="4573"/>
                  <a:pt x="11964" y="4562"/>
                  <a:pt x="11948" y="4559"/>
                </a:cubicBezTo>
                <a:cubicBezTo>
                  <a:pt x="11932" y="4556"/>
                  <a:pt x="11903" y="4557"/>
                  <a:pt x="11903" y="4557"/>
                </a:cubicBezTo>
                <a:cubicBezTo>
                  <a:pt x="11903" y="4557"/>
                  <a:pt x="11885" y="4535"/>
                  <a:pt x="11876" y="4525"/>
                </a:cubicBezTo>
                <a:cubicBezTo>
                  <a:pt x="11867" y="4515"/>
                  <a:pt x="11853" y="4526"/>
                  <a:pt x="11853" y="4526"/>
                </a:cubicBezTo>
                <a:cubicBezTo>
                  <a:pt x="11853" y="4526"/>
                  <a:pt x="11828" y="4513"/>
                  <a:pt x="11822" y="4512"/>
                </a:cubicBezTo>
                <a:cubicBezTo>
                  <a:pt x="11816" y="4510"/>
                  <a:pt x="11790" y="4509"/>
                  <a:pt x="11790" y="4509"/>
                </a:cubicBezTo>
                <a:cubicBezTo>
                  <a:pt x="11790" y="4509"/>
                  <a:pt x="11779" y="4500"/>
                  <a:pt x="11766" y="4504"/>
                </a:cubicBezTo>
                <a:cubicBezTo>
                  <a:pt x="11753" y="4509"/>
                  <a:pt x="11753" y="4537"/>
                  <a:pt x="11746" y="4541"/>
                </a:cubicBezTo>
                <a:cubicBezTo>
                  <a:pt x="11738" y="4546"/>
                  <a:pt x="11724" y="4551"/>
                  <a:pt x="11727" y="4562"/>
                </a:cubicBezTo>
                <a:cubicBezTo>
                  <a:pt x="11751" y="4557"/>
                  <a:pt x="11751" y="4557"/>
                  <a:pt x="11751" y="4557"/>
                </a:cubicBezTo>
                <a:cubicBezTo>
                  <a:pt x="11782" y="4560"/>
                  <a:pt x="11782" y="4560"/>
                  <a:pt x="11782" y="4560"/>
                </a:cubicBezTo>
                <a:cubicBezTo>
                  <a:pt x="11782" y="4560"/>
                  <a:pt x="11759" y="4573"/>
                  <a:pt x="11769" y="4584"/>
                </a:cubicBezTo>
                <a:cubicBezTo>
                  <a:pt x="11779" y="4594"/>
                  <a:pt x="11813" y="4576"/>
                  <a:pt x="11813" y="4576"/>
                </a:cubicBezTo>
                <a:cubicBezTo>
                  <a:pt x="11813" y="4576"/>
                  <a:pt x="11863" y="4603"/>
                  <a:pt x="11878" y="4607"/>
                </a:cubicBezTo>
                <a:cubicBezTo>
                  <a:pt x="11892" y="4612"/>
                  <a:pt x="11942" y="4613"/>
                  <a:pt x="11960" y="4613"/>
                </a:cubicBezTo>
                <a:cubicBezTo>
                  <a:pt x="11977" y="4613"/>
                  <a:pt x="11982" y="4632"/>
                  <a:pt x="11992" y="4641"/>
                </a:cubicBezTo>
                <a:close/>
                <a:moveTo>
                  <a:pt x="12892" y="6106"/>
                </a:moveTo>
                <a:cubicBezTo>
                  <a:pt x="12878" y="6108"/>
                  <a:pt x="12860" y="6113"/>
                  <a:pt x="12867" y="6119"/>
                </a:cubicBezTo>
                <a:cubicBezTo>
                  <a:pt x="12874" y="6125"/>
                  <a:pt x="12877" y="6132"/>
                  <a:pt x="12877" y="6132"/>
                </a:cubicBezTo>
                <a:cubicBezTo>
                  <a:pt x="12891" y="6132"/>
                  <a:pt x="12905" y="6124"/>
                  <a:pt x="12905" y="6124"/>
                </a:cubicBezTo>
                <a:cubicBezTo>
                  <a:pt x="12913" y="6124"/>
                  <a:pt x="12913" y="6124"/>
                  <a:pt x="12913" y="6124"/>
                </a:cubicBezTo>
                <a:cubicBezTo>
                  <a:pt x="12917" y="6121"/>
                  <a:pt x="12917" y="6121"/>
                  <a:pt x="12917" y="6121"/>
                </a:cubicBezTo>
                <a:cubicBezTo>
                  <a:pt x="12928" y="6121"/>
                  <a:pt x="12928" y="6121"/>
                  <a:pt x="12928" y="6121"/>
                </a:cubicBezTo>
                <a:cubicBezTo>
                  <a:pt x="12932" y="6116"/>
                  <a:pt x="12932" y="6116"/>
                  <a:pt x="12932" y="6116"/>
                </a:cubicBezTo>
                <a:cubicBezTo>
                  <a:pt x="12914" y="6114"/>
                  <a:pt x="12914" y="6114"/>
                  <a:pt x="12914" y="6114"/>
                </a:cubicBezTo>
                <a:cubicBezTo>
                  <a:pt x="12914" y="6114"/>
                  <a:pt x="12906" y="6105"/>
                  <a:pt x="12892" y="6106"/>
                </a:cubicBezTo>
                <a:close/>
                <a:moveTo>
                  <a:pt x="11485" y="4319"/>
                </a:moveTo>
                <a:cubicBezTo>
                  <a:pt x="11494" y="4318"/>
                  <a:pt x="11481" y="4298"/>
                  <a:pt x="11473" y="4303"/>
                </a:cubicBezTo>
                <a:cubicBezTo>
                  <a:pt x="11466" y="4307"/>
                  <a:pt x="11475" y="4321"/>
                  <a:pt x="11485" y="4319"/>
                </a:cubicBezTo>
                <a:close/>
                <a:moveTo>
                  <a:pt x="13253" y="6389"/>
                </a:moveTo>
                <a:cubicBezTo>
                  <a:pt x="13255" y="6396"/>
                  <a:pt x="13279" y="6384"/>
                  <a:pt x="13270" y="6377"/>
                </a:cubicBezTo>
                <a:cubicBezTo>
                  <a:pt x="13261" y="6370"/>
                  <a:pt x="13253" y="6389"/>
                  <a:pt x="13253" y="6389"/>
                </a:cubicBezTo>
                <a:close/>
                <a:moveTo>
                  <a:pt x="11424" y="4181"/>
                </a:moveTo>
                <a:cubicBezTo>
                  <a:pt x="11409" y="4195"/>
                  <a:pt x="11409" y="4195"/>
                  <a:pt x="11409" y="4195"/>
                </a:cubicBezTo>
                <a:cubicBezTo>
                  <a:pt x="11417" y="4215"/>
                  <a:pt x="11417" y="4215"/>
                  <a:pt x="11417" y="4215"/>
                </a:cubicBezTo>
                <a:cubicBezTo>
                  <a:pt x="11417" y="4215"/>
                  <a:pt x="11407" y="4233"/>
                  <a:pt x="11419" y="4229"/>
                </a:cubicBezTo>
                <a:cubicBezTo>
                  <a:pt x="11426" y="4226"/>
                  <a:pt x="11423" y="4201"/>
                  <a:pt x="11423" y="4201"/>
                </a:cubicBezTo>
                <a:cubicBezTo>
                  <a:pt x="11430" y="4192"/>
                  <a:pt x="11430" y="4192"/>
                  <a:pt x="11430" y="4192"/>
                </a:cubicBezTo>
                <a:lnTo>
                  <a:pt x="11424" y="4181"/>
                </a:lnTo>
                <a:close/>
                <a:moveTo>
                  <a:pt x="13852" y="4748"/>
                </a:moveTo>
                <a:cubicBezTo>
                  <a:pt x="13854" y="4737"/>
                  <a:pt x="13854" y="4737"/>
                  <a:pt x="13854" y="4737"/>
                </a:cubicBezTo>
                <a:cubicBezTo>
                  <a:pt x="13827" y="4720"/>
                  <a:pt x="13827" y="4720"/>
                  <a:pt x="13827" y="4720"/>
                </a:cubicBezTo>
                <a:cubicBezTo>
                  <a:pt x="13839" y="4710"/>
                  <a:pt x="13839" y="4710"/>
                  <a:pt x="13839" y="4710"/>
                </a:cubicBezTo>
                <a:cubicBezTo>
                  <a:pt x="13839" y="4710"/>
                  <a:pt x="13815" y="4709"/>
                  <a:pt x="13808" y="4702"/>
                </a:cubicBezTo>
                <a:cubicBezTo>
                  <a:pt x="13802" y="4695"/>
                  <a:pt x="13810" y="4681"/>
                  <a:pt x="13810" y="4672"/>
                </a:cubicBezTo>
                <a:cubicBezTo>
                  <a:pt x="13810" y="4663"/>
                  <a:pt x="13777" y="4680"/>
                  <a:pt x="13777" y="4680"/>
                </a:cubicBezTo>
                <a:cubicBezTo>
                  <a:pt x="13776" y="4659"/>
                  <a:pt x="13776" y="4659"/>
                  <a:pt x="13776" y="4659"/>
                </a:cubicBezTo>
                <a:cubicBezTo>
                  <a:pt x="13759" y="4651"/>
                  <a:pt x="13759" y="4651"/>
                  <a:pt x="13759" y="4651"/>
                </a:cubicBezTo>
                <a:cubicBezTo>
                  <a:pt x="13759" y="4621"/>
                  <a:pt x="13759" y="4621"/>
                  <a:pt x="13759" y="4621"/>
                </a:cubicBezTo>
                <a:cubicBezTo>
                  <a:pt x="13723" y="4595"/>
                  <a:pt x="13723" y="4595"/>
                  <a:pt x="13723" y="4595"/>
                </a:cubicBezTo>
                <a:cubicBezTo>
                  <a:pt x="13706" y="4558"/>
                  <a:pt x="13706" y="4558"/>
                  <a:pt x="13706" y="4558"/>
                </a:cubicBezTo>
                <a:cubicBezTo>
                  <a:pt x="13706" y="4558"/>
                  <a:pt x="13744" y="4545"/>
                  <a:pt x="13744" y="4529"/>
                </a:cubicBezTo>
                <a:cubicBezTo>
                  <a:pt x="13744" y="4513"/>
                  <a:pt x="13710" y="4504"/>
                  <a:pt x="13710" y="4504"/>
                </a:cubicBezTo>
                <a:cubicBezTo>
                  <a:pt x="13708" y="4500"/>
                  <a:pt x="13658" y="4486"/>
                  <a:pt x="13658" y="4486"/>
                </a:cubicBezTo>
                <a:cubicBezTo>
                  <a:pt x="13658" y="4486"/>
                  <a:pt x="13654" y="4473"/>
                  <a:pt x="13658" y="4453"/>
                </a:cubicBezTo>
                <a:cubicBezTo>
                  <a:pt x="13662" y="4434"/>
                  <a:pt x="13634" y="4431"/>
                  <a:pt x="13634" y="4431"/>
                </a:cubicBezTo>
                <a:cubicBezTo>
                  <a:pt x="13602" y="4397"/>
                  <a:pt x="13602" y="4397"/>
                  <a:pt x="13602" y="4397"/>
                </a:cubicBezTo>
                <a:cubicBezTo>
                  <a:pt x="13577" y="4398"/>
                  <a:pt x="13577" y="4398"/>
                  <a:pt x="13577" y="4398"/>
                </a:cubicBezTo>
                <a:cubicBezTo>
                  <a:pt x="13553" y="4375"/>
                  <a:pt x="13553" y="4375"/>
                  <a:pt x="13553" y="4375"/>
                </a:cubicBezTo>
                <a:cubicBezTo>
                  <a:pt x="13533" y="4371"/>
                  <a:pt x="13533" y="4371"/>
                  <a:pt x="13533" y="4371"/>
                </a:cubicBezTo>
                <a:cubicBezTo>
                  <a:pt x="13451" y="4333"/>
                  <a:pt x="13451" y="4333"/>
                  <a:pt x="13451" y="4333"/>
                </a:cubicBezTo>
                <a:cubicBezTo>
                  <a:pt x="13435" y="4339"/>
                  <a:pt x="13435" y="4339"/>
                  <a:pt x="13435" y="4339"/>
                </a:cubicBezTo>
                <a:cubicBezTo>
                  <a:pt x="13408" y="4320"/>
                  <a:pt x="13408" y="4320"/>
                  <a:pt x="13408" y="4320"/>
                </a:cubicBezTo>
                <a:cubicBezTo>
                  <a:pt x="13408" y="4320"/>
                  <a:pt x="13389" y="4322"/>
                  <a:pt x="13379" y="4322"/>
                </a:cubicBezTo>
                <a:cubicBezTo>
                  <a:pt x="13368" y="4322"/>
                  <a:pt x="13300" y="4279"/>
                  <a:pt x="13287" y="4275"/>
                </a:cubicBezTo>
                <a:cubicBezTo>
                  <a:pt x="13274" y="4271"/>
                  <a:pt x="13253" y="4290"/>
                  <a:pt x="13253" y="4290"/>
                </a:cubicBezTo>
                <a:cubicBezTo>
                  <a:pt x="13262" y="4308"/>
                  <a:pt x="13262" y="4308"/>
                  <a:pt x="13262" y="4308"/>
                </a:cubicBezTo>
                <a:cubicBezTo>
                  <a:pt x="13211" y="4313"/>
                  <a:pt x="13211" y="4313"/>
                  <a:pt x="13211" y="4313"/>
                </a:cubicBezTo>
                <a:cubicBezTo>
                  <a:pt x="13215" y="4331"/>
                  <a:pt x="13215" y="4331"/>
                  <a:pt x="13215" y="4331"/>
                </a:cubicBezTo>
                <a:cubicBezTo>
                  <a:pt x="13215" y="4331"/>
                  <a:pt x="13205" y="4362"/>
                  <a:pt x="13168" y="4369"/>
                </a:cubicBezTo>
                <a:cubicBezTo>
                  <a:pt x="13131" y="4377"/>
                  <a:pt x="13141" y="4328"/>
                  <a:pt x="13135" y="4328"/>
                </a:cubicBezTo>
                <a:cubicBezTo>
                  <a:pt x="13130" y="4328"/>
                  <a:pt x="13124" y="4350"/>
                  <a:pt x="13124" y="4350"/>
                </a:cubicBezTo>
                <a:cubicBezTo>
                  <a:pt x="13124" y="4350"/>
                  <a:pt x="13116" y="4333"/>
                  <a:pt x="13116" y="4324"/>
                </a:cubicBezTo>
                <a:cubicBezTo>
                  <a:pt x="13116" y="4314"/>
                  <a:pt x="13117" y="4287"/>
                  <a:pt x="13114" y="4270"/>
                </a:cubicBezTo>
                <a:cubicBezTo>
                  <a:pt x="13112" y="4253"/>
                  <a:pt x="13101" y="4235"/>
                  <a:pt x="13101" y="4235"/>
                </a:cubicBezTo>
                <a:cubicBezTo>
                  <a:pt x="13075" y="4235"/>
                  <a:pt x="13075" y="4235"/>
                  <a:pt x="13075" y="4235"/>
                </a:cubicBezTo>
                <a:cubicBezTo>
                  <a:pt x="13075" y="4235"/>
                  <a:pt x="13054" y="4211"/>
                  <a:pt x="13036" y="4211"/>
                </a:cubicBezTo>
                <a:cubicBezTo>
                  <a:pt x="13018" y="4211"/>
                  <a:pt x="12999" y="4236"/>
                  <a:pt x="12999" y="4236"/>
                </a:cubicBezTo>
                <a:cubicBezTo>
                  <a:pt x="12983" y="4240"/>
                  <a:pt x="12983" y="4240"/>
                  <a:pt x="12983" y="4240"/>
                </a:cubicBezTo>
                <a:cubicBezTo>
                  <a:pt x="12978" y="4252"/>
                  <a:pt x="12978" y="4252"/>
                  <a:pt x="12978" y="4252"/>
                </a:cubicBezTo>
                <a:cubicBezTo>
                  <a:pt x="12966" y="4258"/>
                  <a:pt x="12966" y="4258"/>
                  <a:pt x="12966" y="4258"/>
                </a:cubicBezTo>
                <a:cubicBezTo>
                  <a:pt x="12966" y="4249"/>
                  <a:pt x="12966" y="4249"/>
                  <a:pt x="12966" y="4249"/>
                </a:cubicBezTo>
                <a:cubicBezTo>
                  <a:pt x="12966" y="4249"/>
                  <a:pt x="12959" y="4237"/>
                  <a:pt x="12948" y="4241"/>
                </a:cubicBezTo>
                <a:cubicBezTo>
                  <a:pt x="12948" y="4241"/>
                  <a:pt x="12948" y="4254"/>
                  <a:pt x="12957" y="4267"/>
                </a:cubicBezTo>
                <a:cubicBezTo>
                  <a:pt x="12966" y="4280"/>
                  <a:pt x="12987" y="4273"/>
                  <a:pt x="13004" y="4278"/>
                </a:cubicBezTo>
                <a:cubicBezTo>
                  <a:pt x="13021" y="4283"/>
                  <a:pt x="13006" y="4291"/>
                  <a:pt x="13015" y="4307"/>
                </a:cubicBezTo>
                <a:cubicBezTo>
                  <a:pt x="13024" y="4322"/>
                  <a:pt x="13054" y="4309"/>
                  <a:pt x="13076" y="4309"/>
                </a:cubicBezTo>
                <a:cubicBezTo>
                  <a:pt x="13099" y="4309"/>
                  <a:pt x="13100" y="4314"/>
                  <a:pt x="13100" y="4325"/>
                </a:cubicBezTo>
                <a:cubicBezTo>
                  <a:pt x="13100" y="4335"/>
                  <a:pt x="13074" y="4325"/>
                  <a:pt x="13066" y="4326"/>
                </a:cubicBezTo>
                <a:cubicBezTo>
                  <a:pt x="13058" y="4328"/>
                  <a:pt x="13040" y="4339"/>
                  <a:pt x="13040" y="4339"/>
                </a:cubicBezTo>
                <a:cubicBezTo>
                  <a:pt x="13040" y="4339"/>
                  <a:pt x="13012" y="4339"/>
                  <a:pt x="13006" y="4346"/>
                </a:cubicBezTo>
                <a:cubicBezTo>
                  <a:pt x="12999" y="4352"/>
                  <a:pt x="13029" y="4359"/>
                  <a:pt x="13036" y="4363"/>
                </a:cubicBezTo>
                <a:cubicBezTo>
                  <a:pt x="13042" y="4367"/>
                  <a:pt x="13052" y="4383"/>
                  <a:pt x="13052" y="4383"/>
                </a:cubicBezTo>
                <a:cubicBezTo>
                  <a:pt x="13052" y="4383"/>
                  <a:pt x="13036" y="4402"/>
                  <a:pt x="13045" y="4415"/>
                </a:cubicBezTo>
                <a:cubicBezTo>
                  <a:pt x="13054" y="4428"/>
                  <a:pt x="13074" y="4393"/>
                  <a:pt x="13074" y="4389"/>
                </a:cubicBezTo>
                <a:cubicBezTo>
                  <a:pt x="13074" y="4385"/>
                  <a:pt x="13093" y="4356"/>
                  <a:pt x="13093" y="4356"/>
                </a:cubicBezTo>
                <a:cubicBezTo>
                  <a:pt x="13091" y="4381"/>
                  <a:pt x="13091" y="4381"/>
                  <a:pt x="13091" y="4381"/>
                </a:cubicBezTo>
                <a:cubicBezTo>
                  <a:pt x="13091" y="4381"/>
                  <a:pt x="13104" y="4394"/>
                  <a:pt x="13114" y="4403"/>
                </a:cubicBezTo>
                <a:cubicBezTo>
                  <a:pt x="13125" y="4413"/>
                  <a:pt x="13146" y="4405"/>
                  <a:pt x="13146" y="4405"/>
                </a:cubicBezTo>
                <a:cubicBezTo>
                  <a:pt x="13137" y="4414"/>
                  <a:pt x="13137" y="4414"/>
                  <a:pt x="13137" y="4414"/>
                </a:cubicBezTo>
                <a:cubicBezTo>
                  <a:pt x="13158" y="4434"/>
                  <a:pt x="13158" y="4434"/>
                  <a:pt x="13158" y="4434"/>
                </a:cubicBezTo>
                <a:cubicBezTo>
                  <a:pt x="13196" y="4435"/>
                  <a:pt x="13196" y="4435"/>
                  <a:pt x="13196" y="4435"/>
                </a:cubicBezTo>
                <a:cubicBezTo>
                  <a:pt x="13219" y="4452"/>
                  <a:pt x="13219" y="4452"/>
                  <a:pt x="13219" y="4452"/>
                </a:cubicBezTo>
                <a:cubicBezTo>
                  <a:pt x="13219" y="4452"/>
                  <a:pt x="13261" y="4466"/>
                  <a:pt x="13285" y="4483"/>
                </a:cubicBezTo>
                <a:cubicBezTo>
                  <a:pt x="13308" y="4500"/>
                  <a:pt x="13303" y="4506"/>
                  <a:pt x="13304" y="4525"/>
                </a:cubicBezTo>
                <a:cubicBezTo>
                  <a:pt x="13306" y="4545"/>
                  <a:pt x="13328" y="4554"/>
                  <a:pt x="13328" y="4554"/>
                </a:cubicBezTo>
                <a:cubicBezTo>
                  <a:pt x="13328" y="4554"/>
                  <a:pt x="13311" y="4557"/>
                  <a:pt x="13311" y="4566"/>
                </a:cubicBezTo>
                <a:cubicBezTo>
                  <a:pt x="13311" y="4575"/>
                  <a:pt x="13337" y="4576"/>
                  <a:pt x="13337" y="4576"/>
                </a:cubicBezTo>
                <a:cubicBezTo>
                  <a:pt x="13321" y="4582"/>
                  <a:pt x="13321" y="4582"/>
                  <a:pt x="13321" y="4582"/>
                </a:cubicBezTo>
                <a:cubicBezTo>
                  <a:pt x="13322" y="4590"/>
                  <a:pt x="13322" y="4590"/>
                  <a:pt x="13322" y="4590"/>
                </a:cubicBezTo>
                <a:cubicBezTo>
                  <a:pt x="13327" y="4593"/>
                  <a:pt x="13327" y="4593"/>
                  <a:pt x="13327" y="4593"/>
                </a:cubicBezTo>
                <a:cubicBezTo>
                  <a:pt x="13332" y="4614"/>
                  <a:pt x="13332" y="4614"/>
                  <a:pt x="13332" y="4614"/>
                </a:cubicBezTo>
                <a:cubicBezTo>
                  <a:pt x="13322" y="4635"/>
                  <a:pt x="13322" y="4635"/>
                  <a:pt x="13322" y="4635"/>
                </a:cubicBezTo>
                <a:cubicBezTo>
                  <a:pt x="13328" y="4634"/>
                  <a:pt x="13333" y="4633"/>
                  <a:pt x="13336" y="4634"/>
                </a:cubicBezTo>
                <a:cubicBezTo>
                  <a:pt x="13341" y="4637"/>
                  <a:pt x="13375" y="4622"/>
                  <a:pt x="13375" y="4622"/>
                </a:cubicBezTo>
                <a:cubicBezTo>
                  <a:pt x="13375" y="4640"/>
                  <a:pt x="13375" y="4640"/>
                  <a:pt x="13375" y="4640"/>
                </a:cubicBezTo>
                <a:cubicBezTo>
                  <a:pt x="13375" y="4640"/>
                  <a:pt x="13402" y="4673"/>
                  <a:pt x="13414" y="4682"/>
                </a:cubicBezTo>
                <a:cubicBezTo>
                  <a:pt x="13416" y="4683"/>
                  <a:pt x="13417" y="4684"/>
                  <a:pt x="13419" y="4685"/>
                </a:cubicBezTo>
                <a:cubicBezTo>
                  <a:pt x="13419" y="4685"/>
                  <a:pt x="13419" y="4685"/>
                  <a:pt x="13419" y="4685"/>
                </a:cubicBezTo>
                <a:cubicBezTo>
                  <a:pt x="13436" y="4689"/>
                  <a:pt x="13477" y="4680"/>
                  <a:pt x="13477" y="4680"/>
                </a:cubicBezTo>
                <a:cubicBezTo>
                  <a:pt x="13490" y="4692"/>
                  <a:pt x="13490" y="4692"/>
                  <a:pt x="13490" y="4692"/>
                </a:cubicBezTo>
                <a:cubicBezTo>
                  <a:pt x="13490" y="4692"/>
                  <a:pt x="13516" y="4682"/>
                  <a:pt x="13528" y="4672"/>
                </a:cubicBezTo>
                <a:cubicBezTo>
                  <a:pt x="13540" y="4661"/>
                  <a:pt x="13473" y="4631"/>
                  <a:pt x="13473" y="4631"/>
                </a:cubicBezTo>
                <a:cubicBezTo>
                  <a:pt x="13473" y="4631"/>
                  <a:pt x="13528" y="4639"/>
                  <a:pt x="13540" y="4637"/>
                </a:cubicBezTo>
                <a:cubicBezTo>
                  <a:pt x="13552" y="4634"/>
                  <a:pt x="13532" y="4613"/>
                  <a:pt x="13532" y="4613"/>
                </a:cubicBezTo>
                <a:cubicBezTo>
                  <a:pt x="13532" y="4613"/>
                  <a:pt x="13548" y="4625"/>
                  <a:pt x="13553" y="4622"/>
                </a:cubicBezTo>
                <a:cubicBezTo>
                  <a:pt x="13558" y="4620"/>
                  <a:pt x="13548" y="4597"/>
                  <a:pt x="13548" y="4597"/>
                </a:cubicBezTo>
                <a:cubicBezTo>
                  <a:pt x="13548" y="4597"/>
                  <a:pt x="13558" y="4606"/>
                  <a:pt x="13565" y="4608"/>
                </a:cubicBezTo>
                <a:cubicBezTo>
                  <a:pt x="13571" y="4609"/>
                  <a:pt x="13581" y="4596"/>
                  <a:pt x="13587" y="4595"/>
                </a:cubicBezTo>
                <a:cubicBezTo>
                  <a:pt x="13594" y="4593"/>
                  <a:pt x="13604" y="4613"/>
                  <a:pt x="13611" y="4617"/>
                </a:cubicBezTo>
                <a:cubicBezTo>
                  <a:pt x="13617" y="4621"/>
                  <a:pt x="13642" y="4616"/>
                  <a:pt x="13660" y="4626"/>
                </a:cubicBezTo>
                <a:cubicBezTo>
                  <a:pt x="13679" y="4637"/>
                  <a:pt x="13672" y="4660"/>
                  <a:pt x="13679" y="4672"/>
                </a:cubicBezTo>
                <a:cubicBezTo>
                  <a:pt x="13685" y="4684"/>
                  <a:pt x="13698" y="4676"/>
                  <a:pt x="13704" y="4682"/>
                </a:cubicBezTo>
                <a:cubicBezTo>
                  <a:pt x="13709" y="4689"/>
                  <a:pt x="13718" y="4730"/>
                  <a:pt x="13732" y="4740"/>
                </a:cubicBezTo>
                <a:cubicBezTo>
                  <a:pt x="13747" y="4750"/>
                  <a:pt x="13811" y="4744"/>
                  <a:pt x="13820" y="4748"/>
                </a:cubicBezTo>
                <a:cubicBezTo>
                  <a:pt x="13829" y="4752"/>
                  <a:pt x="13849" y="4775"/>
                  <a:pt x="13861" y="4775"/>
                </a:cubicBezTo>
                <a:cubicBezTo>
                  <a:pt x="13873" y="4775"/>
                  <a:pt x="13852" y="4748"/>
                  <a:pt x="13852" y="4748"/>
                </a:cubicBezTo>
                <a:close/>
                <a:moveTo>
                  <a:pt x="14324" y="6411"/>
                </a:moveTo>
                <a:cubicBezTo>
                  <a:pt x="14315" y="6411"/>
                  <a:pt x="14315" y="6411"/>
                  <a:pt x="14315" y="6411"/>
                </a:cubicBezTo>
                <a:cubicBezTo>
                  <a:pt x="14321" y="6386"/>
                  <a:pt x="14321" y="6386"/>
                  <a:pt x="14321" y="6386"/>
                </a:cubicBezTo>
                <a:cubicBezTo>
                  <a:pt x="14303" y="6397"/>
                  <a:pt x="14303" y="6397"/>
                  <a:pt x="14303" y="6397"/>
                </a:cubicBezTo>
                <a:cubicBezTo>
                  <a:pt x="14303" y="6397"/>
                  <a:pt x="14316" y="6371"/>
                  <a:pt x="14304" y="6371"/>
                </a:cubicBezTo>
                <a:cubicBezTo>
                  <a:pt x="14292" y="6370"/>
                  <a:pt x="14282" y="6387"/>
                  <a:pt x="14282" y="6387"/>
                </a:cubicBezTo>
                <a:cubicBezTo>
                  <a:pt x="14271" y="6394"/>
                  <a:pt x="14271" y="6394"/>
                  <a:pt x="14271" y="6394"/>
                </a:cubicBezTo>
                <a:cubicBezTo>
                  <a:pt x="14271" y="6394"/>
                  <a:pt x="14260" y="6405"/>
                  <a:pt x="14251" y="6416"/>
                </a:cubicBezTo>
                <a:cubicBezTo>
                  <a:pt x="14243" y="6427"/>
                  <a:pt x="14222" y="6429"/>
                  <a:pt x="14207" y="6439"/>
                </a:cubicBezTo>
                <a:cubicBezTo>
                  <a:pt x="14192" y="6450"/>
                  <a:pt x="14186" y="6468"/>
                  <a:pt x="14186" y="6468"/>
                </a:cubicBezTo>
                <a:cubicBezTo>
                  <a:pt x="14186" y="6468"/>
                  <a:pt x="14139" y="6482"/>
                  <a:pt x="14126" y="6491"/>
                </a:cubicBezTo>
                <a:cubicBezTo>
                  <a:pt x="14111" y="6500"/>
                  <a:pt x="14087" y="6520"/>
                  <a:pt x="14087" y="6520"/>
                </a:cubicBezTo>
                <a:cubicBezTo>
                  <a:pt x="14087" y="6520"/>
                  <a:pt x="14060" y="6524"/>
                  <a:pt x="14043" y="6531"/>
                </a:cubicBezTo>
                <a:cubicBezTo>
                  <a:pt x="14027" y="6539"/>
                  <a:pt x="14018" y="6541"/>
                  <a:pt x="14003" y="6549"/>
                </a:cubicBezTo>
                <a:cubicBezTo>
                  <a:pt x="13987" y="6558"/>
                  <a:pt x="13957" y="6569"/>
                  <a:pt x="13945" y="6575"/>
                </a:cubicBezTo>
                <a:cubicBezTo>
                  <a:pt x="13932" y="6581"/>
                  <a:pt x="13938" y="6600"/>
                  <a:pt x="13938" y="6600"/>
                </a:cubicBezTo>
                <a:cubicBezTo>
                  <a:pt x="13928" y="6591"/>
                  <a:pt x="13928" y="6591"/>
                  <a:pt x="13928" y="6591"/>
                </a:cubicBezTo>
                <a:cubicBezTo>
                  <a:pt x="13928" y="6591"/>
                  <a:pt x="13893" y="6613"/>
                  <a:pt x="13882" y="6619"/>
                </a:cubicBezTo>
                <a:cubicBezTo>
                  <a:pt x="13870" y="6626"/>
                  <a:pt x="13865" y="6623"/>
                  <a:pt x="13849" y="6629"/>
                </a:cubicBezTo>
                <a:cubicBezTo>
                  <a:pt x="13833" y="6635"/>
                  <a:pt x="13826" y="6644"/>
                  <a:pt x="13826" y="6644"/>
                </a:cubicBezTo>
                <a:cubicBezTo>
                  <a:pt x="13826" y="6644"/>
                  <a:pt x="13846" y="6643"/>
                  <a:pt x="13844" y="6647"/>
                </a:cubicBezTo>
                <a:cubicBezTo>
                  <a:pt x="13842" y="6651"/>
                  <a:pt x="13834" y="6656"/>
                  <a:pt x="13838" y="6665"/>
                </a:cubicBezTo>
                <a:cubicBezTo>
                  <a:pt x="13843" y="6674"/>
                  <a:pt x="13866" y="6660"/>
                  <a:pt x="13866" y="6660"/>
                </a:cubicBezTo>
                <a:cubicBezTo>
                  <a:pt x="13873" y="6667"/>
                  <a:pt x="13873" y="6667"/>
                  <a:pt x="13873" y="6667"/>
                </a:cubicBezTo>
                <a:cubicBezTo>
                  <a:pt x="13889" y="6667"/>
                  <a:pt x="13889" y="6667"/>
                  <a:pt x="13889" y="6667"/>
                </a:cubicBezTo>
                <a:cubicBezTo>
                  <a:pt x="13891" y="6673"/>
                  <a:pt x="13891" y="6673"/>
                  <a:pt x="13891" y="6673"/>
                </a:cubicBezTo>
                <a:cubicBezTo>
                  <a:pt x="13913" y="6670"/>
                  <a:pt x="13913" y="6670"/>
                  <a:pt x="13913" y="6670"/>
                </a:cubicBezTo>
                <a:cubicBezTo>
                  <a:pt x="13922" y="6684"/>
                  <a:pt x="13922" y="6684"/>
                  <a:pt x="13922" y="6684"/>
                </a:cubicBezTo>
                <a:cubicBezTo>
                  <a:pt x="13944" y="6681"/>
                  <a:pt x="13944" y="6681"/>
                  <a:pt x="13944" y="6681"/>
                </a:cubicBezTo>
                <a:cubicBezTo>
                  <a:pt x="13944" y="6681"/>
                  <a:pt x="13962" y="6692"/>
                  <a:pt x="13978" y="6689"/>
                </a:cubicBezTo>
                <a:cubicBezTo>
                  <a:pt x="13993" y="6686"/>
                  <a:pt x="13998" y="6670"/>
                  <a:pt x="14008" y="6663"/>
                </a:cubicBezTo>
                <a:cubicBezTo>
                  <a:pt x="14018" y="6656"/>
                  <a:pt x="14026" y="6666"/>
                  <a:pt x="14041" y="6656"/>
                </a:cubicBezTo>
                <a:cubicBezTo>
                  <a:pt x="14056" y="6646"/>
                  <a:pt x="14046" y="6633"/>
                  <a:pt x="14058" y="6622"/>
                </a:cubicBezTo>
                <a:cubicBezTo>
                  <a:pt x="14069" y="6610"/>
                  <a:pt x="14083" y="6618"/>
                  <a:pt x="14091" y="6610"/>
                </a:cubicBezTo>
                <a:cubicBezTo>
                  <a:pt x="14099" y="6603"/>
                  <a:pt x="14091" y="6594"/>
                  <a:pt x="14091" y="6594"/>
                </a:cubicBezTo>
                <a:cubicBezTo>
                  <a:pt x="14105" y="6593"/>
                  <a:pt x="14105" y="6593"/>
                  <a:pt x="14105" y="6593"/>
                </a:cubicBezTo>
                <a:cubicBezTo>
                  <a:pt x="14144" y="6563"/>
                  <a:pt x="14144" y="6563"/>
                  <a:pt x="14144" y="6563"/>
                </a:cubicBezTo>
                <a:cubicBezTo>
                  <a:pt x="14132" y="6553"/>
                  <a:pt x="14132" y="6553"/>
                  <a:pt x="14132" y="6553"/>
                </a:cubicBezTo>
                <a:cubicBezTo>
                  <a:pt x="14159" y="6563"/>
                  <a:pt x="14159" y="6563"/>
                  <a:pt x="14159" y="6563"/>
                </a:cubicBezTo>
                <a:cubicBezTo>
                  <a:pt x="14159" y="6563"/>
                  <a:pt x="14160" y="6547"/>
                  <a:pt x="14169" y="6546"/>
                </a:cubicBezTo>
                <a:cubicBezTo>
                  <a:pt x="14178" y="6545"/>
                  <a:pt x="14186" y="6553"/>
                  <a:pt x="14198" y="6556"/>
                </a:cubicBezTo>
                <a:cubicBezTo>
                  <a:pt x="14209" y="6558"/>
                  <a:pt x="14214" y="6539"/>
                  <a:pt x="14214" y="6539"/>
                </a:cubicBezTo>
                <a:cubicBezTo>
                  <a:pt x="14204" y="6531"/>
                  <a:pt x="14204" y="6531"/>
                  <a:pt x="14204" y="6531"/>
                </a:cubicBezTo>
                <a:cubicBezTo>
                  <a:pt x="14221" y="6516"/>
                  <a:pt x="14221" y="6516"/>
                  <a:pt x="14221" y="6516"/>
                </a:cubicBezTo>
                <a:cubicBezTo>
                  <a:pt x="14233" y="6502"/>
                  <a:pt x="14233" y="6502"/>
                  <a:pt x="14233" y="6502"/>
                </a:cubicBezTo>
                <a:cubicBezTo>
                  <a:pt x="14233" y="6502"/>
                  <a:pt x="14244" y="6495"/>
                  <a:pt x="14256" y="6492"/>
                </a:cubicBezTo>
                <a:cubicBezTo>
                  <a:pt x="14268" y="6489"/>
                  <a:pt x="14273" y="6472"/>
                  <a:pt x="14273" y="6472"/>
                </a:cubicBezTo>
                <a:cubicBezTo>
                  <a:pt x="14273" y="6472"/>
                  <a:pt x="14284" y="6470"/>
                  <a:pt x="14294" y="6466"/>
                </a:cubicBezTo>
                <a:cubicBezTo>
                  <a:pt x="14305" y="6462"/>
                  <a:pt x="14314" y="6444"/>
                  <a:pt x="14314" y="6444"/>
                </a:cubicBezTo>
                <a:cubicBezTo>
                  <a:pt x="14314" y="6444"/>
                  <a:pt x="14334" y="6437"/>
                  <a:pt x="14344" y="6425"/>
                </a:cubicBezTo>
                <a:cubicBezTo>
                  <a:pt x="14355" y="6412"/>
                  <a:pt x="14342" y="6389"/>
                  <a:pt x="14342" y="6389"/>
                </a:cubicBezTo>
                <a:lnTo>
                  <a:pt x="14324" y="6411"/>
                </a:lnTo>
                <a:close/>
                <a:moveTo>
                  <a:pt x="13321" y="4635"/>
                </a:moveTo>
                <a:cubicBezTo>
                  <a:pt x="13327" y="4613"/>
                  <a:pt x="13327" y="4613"/>
                  <a:pt x="13327" y="4613"/>
                </a:cubicBezTo>
                <a:cubicBezTo>
                  <a:pt x="13323" y="4599"/>
                  <a:pt x="13323" y="4599"/>
                  <a:pt x="13323" y="4599"/>
                </a:cubicBezTo>
                <a:cubicBezTo>
                  <a:pt x="13322" y="4598"/>
                  <a:pt x="13322" y="4598"/>
                  <a:pt x="13322" y="4598"/>
                </a:cubicBezTo>
                <a:cubicBezTo>
                  <a:pt x="13320" y="4595"/>
                  <a:pt x="13311" y="4587"/>
                  <a:pt x="13292" y="4596"/>
                </a:cubicBezTo>
                <a:cubicBezTo>
                  <a:pt x="13270" y="4606"/>
                  <a:pt x="13266" y="4644"/>
                  <a:pt x="13266" y="4644"/>
                </a:cubicBezTo>
                <a:cubicBezTo>
                  <a:pt x="13308" y="4639"/>
                  <a:pt x="13308" y="4639"/>
                  <a:pt x="13308" y="4639"/>
                </a:cubicBezTo>
                <a:cubicBezTo>
                  <a:pt x="13308" y="4639"/>
                  <a:pt x="13314" y="4637"/>
                  <a:pt x="13321" y="4635"/>
                </a:cubicBezTo>
                <a:close/>
                <a:moveTo>
                  <a:pt x="11435" y="4245"/>
                </a:moveTo>
                <a:cubicBezTo>
                  <a:pt x="11425" y="4257"/>
                  <a:pt x="11431" y="4299"/>
                  <a:pt x="11453" y="4295"/>
                </a:cubicBezTo>
                <a:cubicBezTo>
                  <a:pt x="11462" y="4293"/>
                  <a:pt x="11446" y="4233"/>
                  <a:pt x="11435" y="4245"/>
                </a:cubicBezTo>
                <a:close/>
                <a:moveTo>
                  <a:pt x="13175" y="4927"/>
                </a:moveTo>
                <a:cubicBezTo>
                  <a:pt x="13169" y="4927"/>
                  <a:pt x="13165" y="4958"/>
                  <a:pt x="13165" y="4958"/>
                </a:cubicBezTo>
                <a:cubicBezTo>
                  <a:pt x="13175" y="4972"/>
                  <a:pt x="13196" y="4960"/>
                  <a:pt x="13196" y="4960"/>
                </a:cubicBezTo>
                <a:cubicBezTo>
                  <a:pt x="13192" y="4951"/>
                  <a:pt x="13192" y="4951"/>
                  <a:pt x="13192" y="4951"/>
                </a:cubicBezTo>
                <a:cubicBezTo>
                  <a:pt x="13196" y="4932"/>
                  <a:pt x="13196" y="4932"/>
                  <a:pt x="13196" y="4932"/>
                </a:cubicBezTo>
                <a:cubicBezTo>
                  <a:pt x="13196" y="4932"/>
                  <a:pt x="13180" y="4927"/>
                  <a:pt x="13175" y="4927"/>
                </a:cubicBezTo>
                <a:close/>
                <a:moveTo>
                  <a:pt x="13263" y="6362"/>
                </a:moveTo>
                <a:cubicBezTo>
                  <a:pt x="13251" y="6337"/>
                  <a:pt x="13251" y="6337"/>
                  <a:pt x="13251" y="6337"/>
                </a:cubicBezTo>
                <a:cubicBezTo>
                  <a:pt x="13251" y="6337"/>
                  <a:pt x="13239" y="6344"/>
                  <a:pt x="13238" y="6352"/>
                </a:cubicBezTo>
                <a:cubicBezTo>
                  <a:pt x="13238" y="6359"/>
                  <a:pt x="13240" y="6362"/>
                  <a:pt x="13249" y="6365"/>
                </a:cubicBezTo>
                <a:cubicBezTo>
                  <a:pt x="13258" y="6368"/>
                  <a:pt x="13263" y="6362"/>
                  <a:pt x="13263" y="6362"/>
                </a:cubicBezTo>
                <a:close/>
                <a:moveTo>
                  <a:pt x="6552" y="1145"/>
                </a:moveTo>
                <a:cubicBezTo>
                  <a:pt x="6547" y="1137"/>
                  <a:pt x="6547" y="1137"/>
                  <a:pt x="6547" y="1137"/>
                </a:cubicBezTo>
                <a:cubicBezTo>
                  <a:pt x="6541" y="1159"/>
                  <a:pt x="6541" y="1159"/>
                  <a:pt x="6541" y="1159"/>
                </a:cubicBezTo>
                <a:lnTo>
                  <a:pt x="6552" y="1145"/>
                </a:lnTo>
                <a:close/>
                <a:moveTo>
                  <a:pt x="6608" y="1224"/>
                </a:moveTo>
                <a:cubicBezTo>
                  <a:pt x="6600" y="1224"/>
                  <a:pt x="6599" y="1230"/>
                  <a:pt x="6596" y="1245"/>
                </a:cubicBezTo>
                <a:cubicBezTo>
                  <a:pt x="6594" y="1257"/>
                  <a:pt x="6616" y="1224"/>
                  <a:pt x="6608" y="1224"/>
                </a:cubicBezTo>
                <a:close/>
                <a:moveTo>
                  <a:pt x="6587" y="1127"/>
                </a:moveTo>
                <a:cubicBezTo>
                  <a:pt x="6577" y="1127"/>
                  <a:pt x="6583" y="1137"/>
                  <a:pt x="6583" y="1137"/>
                </a:cubicBezTo>
                <a:cubicBezTo>
                  <a:pt x="6583" y="1137"/>
                  <a:pt x="6575" y="1134"/>
                  <a:pt x="6572" y="1137"/>
                </a:cubicBezTo>
                <a:cubicBezTo>
                  <a:pt x="6569" y="1140"/>
                  <a:pt x="6581" y="1147"/>
                  <a:pt x="6583" y="1151"/>
                </a:cubicBezTo>
                <a:cubicBezTo>
                  <a:pt x="6585" y="1155"/>
                  <a:pt x="6600" y="1152"/>
                  <a:pt x="6600" y="1152"/>
                </a:cubicBezTo>
                <a:cubicBezTo>
                  <a:pt x="6593" y="1144"/>
                  <a:pt x="6593" y="1144"/>
                  <a:pt x="6593" y="1144"/>
                </a:cubicBezTo>
                <a:cubicBezTo>
                  <a:pt x="6593" y="1144"/>
                  <a:pt x="6597" y="1127"/>
                  <a:pt x="6587" y="1127"/>
                </a:cubicBezTo>
                <a:close/>
                <a:moveTo>
                  <a:pt x="6627" y="1237"/>
                </a:moveTo>
                <a:cubicBezTo>
                  <a:pt x="6633" y="1233"/>
                  <a:pt x="6624" y="1220"/>
                  <a:pt x="6618" y="1226"/>
                </a:cubicBezTo>
                <a:cubicBezTo>
                  <a:pt x="6612" y="1232"/>
                  <a:pt x="6620" y="1241"/>
                  <a:pt x="6627" y="1237"/>
                </a:cubicBezTo>
                <a:close/>
                <a:moveTo>
                  <a:pt x="6647" y="1293"/>
                </a:moveTo>
                <a:cubicBezTo>
                  <a:pt x="6642" y="1278"/>
                  <a:pt x="6637" y="1298"/>
                  <a:pt x="6628" y="1306"/>
                </a:cubicBezTo>
                <a:cubicBezTo>
                  <a:pt x="6628" y="1306"/>
                  <a:pt x="6652" y="1308"/>
                  <a:pt x="6647" y="1293"/>
                </a:cubicBezTo>
                <a:close/>
                <a:moveTo>
                  <a:pt x="6576" y="1101"/>
                </a:moveTo>
                <a:cubicBezTo>
                  <a:pt x="6576" y="1101"/>
                  <a:pt x="6568" y="1093"/>
                  <a:pt x="6562" y="1096"/>
                </a:cubicBezTo>
                <a:cubicBezTo>
                  <a:pt x="6557" y="1099"/>
                  <a:pt x="6563" y="1121"/>
                  <a:pt x="6563" y="1121"/>
                </a:cubicBezTo>
                <a:cubicBezTo>
                  <a:pt x="6572" y="1112"/>
                  <a:pt x="6572" y="1112"/>
                  <a:pt x="6572" y="1112"/>
                </a:cubicBezTo>
                <a:cubicBezTo>
                  <a:pt x="6572" y="1112"/>
                  <a:pt x="6578" y="1114"/>
                  <a:pt x="6584" y="1113"/>
                </a:cubicBezTo>
                <a:cubicBezTo>
                  <a:pt x="6590" y="1112"/>
                  <a:pt x="6598" y="1083"/>
                  <a:pt x="6598" y="1083"/>
                </a:cubicBezTo>
                <a:cubicBezTo>
                  <a:pt x="6598" y="1083"/>
                  <a:pt x="6590" y="1085"/>
                  <a:pt x="6584" y="1090"/>
                </a:cubicBezTo>
                <a:cubicBezTo>
                  <a:pt x="6578" y="1094"/>
                  <a:pt x="6576" y="1101"/>
                  <a:pt x="6576" y="1101"/>
                </a:cubicBezTo>
                <a:close/>
                <a:moveTo>
                  <a:pt x="6370" y="744"/>
                </a:moveTo>
                <a:cubicBezTo>
                  <a:pt x="6356" y="737"/>
                  <a:pt x="6344" y="744"/>
                  <a:pt x="6344" y="744"/>
                </a:cubicBezTo>
                <a:cubicBezTo>
                  <a:pt x="6347" y="734"/>
                  <a:pt x="6347" y="734"/>
                  <a:pt x="6347" y="734"/>
                </a:cubicBezTo>
                <a:cubicBezTo>
                  <a:pt x="6329" y="735"/>
                  <a:pt x="6329" y="735"/>
                  <a:pt x="6329" y="735"/>
                </a:cubicBezTo>
                <a:cubicBezTo>
                  <a:pt x="6339" y="720"/>
                  <a:pt x="6339" y="720"/>
                  <a:pt x="6339" y="720"/>
                </a:cubicBezTo>
                <a:cubicBezTo>
                  <a:pt x="6330" y="718"/>
                  <a:pt x="6330" y="718"/>
                  <a:pt x="6330" y="718"/>
                </a:cubicBezTo>
                <a:cubicBezTo>
                  <a:pt x="6334" y="706"/>
                  <a:pt x="6334" y="706"/>
                  <a:pt x="6334" y="706"/>
                </a:cubicBezTo>
                <a:cubicBezTo>
                  <a:pt x="6313" y="711"/>
                  <a:pt x="6313" y="711"/>
                  <a:pt x="6313" y="711"/>
                </a:cubicBezTo>
                <a:cubicBezTo>
                  <a:pt x="6313" y="711"/>
                  <a:pt x="6292" y="694"/>
                  <a:pt x="6285" y="694"/>
                </a:cubicBezTo>
                <a:cubicBezTo>
                  <a:pt x="6278" y="694"/>
                  <a:pt x="6282" y="710"/>
                  <a:pt x="6282" y="710"/>
                </a:cubicBezTo>
                <a:cubicBezTo>
                  <a:pt x="6268" y="716"/>
                  <a:pt x="6268" y="716"/>
                  <a:pt x="6268" y="716"/>
                </a:cubicBezTo>
                <a:cubicBezTo>
                  <a:pt x="6268" y="716"/>
                  <a:pt x="6256" y="713"/>
                  <a:pt x="6250" y="713"/>
                </a:cubicBezTo>
                <a:cubicBezTo>
                  <a:pt x="6244" y="713"/>
                  <a:pt x="6237" y="723"/>
                  <a:pt x="6237" y="723"/>
                </a:cubicBezTo>
                <a:cubicBezTo>
                  <a:pt x="6237" y="723"/>
                  <a:pt x="6221" y="711"/>
                  <a:pt x="6215" y="713"/>
                </a:cubicBezTo>
                <a:cubicBezTo>
                  <a:pt x="6209" y="715"/>
                  <a:pt x="6214" y="735"/>
                  <a:pt x="6214" y="735"/>
                </a:cubicBezTo>
                <a:cubicBezTo>
                  <a:pt x="6214" y="735"/>
                  <a:pt x="6196" y="710"/>
                  <a:pt x="6189" y="710"/>
                </a:cubicBezTo>
                <a:cubicBezTo>
                  <a:pt x="6182" y="710"/>
                  <a:pt x="6186" y="717"/>
                  <a:pt x="6186" y="717"/>
                </a:cubicBezTo>
                <a:cubicBezTo>
                  <a:pt x="6186" y="717"/>
                  <a:pt x="6171" y="717"/>
                  <a:pt x="6170" y="720"/>
                </a:cubicBezTo>
                <a:cubicBezTo>
                  <a:pt x="6169" y="723"/>
                  <a:pt x="6169" y="732"/>
                  <a:pt x="6169" y="732"/>
                </a:cubicBezTo>
                <a:cubicBezTo>
                  <a:pt x="6159" y="733"/>
                  <a:pt x="6159" y="733"/>
                  <a:pt x="6159" y="733"/>
                </a:cubicBezTo>
                <a:cubicBezTo>
                  <a:pt x="6159" y="733"/>
                  <a:pt x="6143" y="712"/>
                  <a:pt x="6138" y="716"/>
                </a:cubicBezTo>
                <a:cubicBezTo>
                  <a:pt x="6133" y="720"/>
                  <a:pt x="6138" y="743"/>
                  <a:pt x="6133" y="744"/>
                </a:cubicBezTo>
                <a:cubicBezTo>
                  <a:pt x="6128" y="745"/>
                  <a:pt x="6121" y="736"/>
                  <a:pt x="6117" y="736"/>
                </a:cubicBezTo>
                <a:cubicBezTo>
                  <a:pt x="6113" y="736"/>
                  <a:pt x="6100" y="757"/>
                  <a:pt x="6100" y="757"/>
                </a:cubicBezTo>
                <a:cubicBezTo>
                  <a:pt x="6098" y="750"/>
                  <a:pt x="6098" y="750"/>
                  <a:pt x="6098" y="750"/>
                </a:cubicBezTo>
                <a:cubicBezTo>
                  <a:pt x="6090" y="734"/>
                  <a:pt x="6090" y="734"/>
                  <a:pt x="6090" y="734"/>
                </a:cubicBezTo>
                <a:cubicBezTo>
                  <a:pt x="6090" y="734"/>
                  <a:pt x="6106" y="729"/>
                  <a:pt x="6100" y="720"/>
                </a:cubicBezTo>
                <a:cubicBezTo>
                  <a:pt x="6094" y="711"/>
                  <a:pt x="6061" y="697"/>
                  <a:pt x="6056" y="701"/>
                </a:cubicBezTo>
                <a:cubicBezTo>
                  <a:pt x="6051" y="705"/>
                  <a:pt x="6057" y="720"/>
                  <a:pt x="6057" y="720"/>
                </a:cubicBezTo>
                <a:cubicBezTo>
                  <a:pt x="6057" y="720"/>
                  <a:pt x="6037" y="713"/>
                  <a:pt x="6031" y="713"/>
                </a:cubicBezTo>
                <a:cubicBezTo>
                  <a:pt x="6025" y="713"/>
                  <a:pt x="6013" y="725"/>
                  <a:pt x="6013" y="725"/>
                </a:cubicBezTo>
                <a:cubicBezTo>
                  <a:pt x="6023" y="731"/>
                  <a:pt x="6023" y="731"/>
                  <a:pt x="6023" y="731"/>
                </a:cubicBezTo>
                <a:cubicBezTo>
                  <a:pt x="6023" y="731"/>
                  <a:pt x="6011" y="729"/>
                  <a:pt x="6005" y="735"/>
                </a:cubicBezTo>
                <a:cubicBezTo>
                  <a:pt x="5999" y="741"/>
                  <a:pt x="5992" y="741"/>
                  <a:pt x="5992" y="741"/>
                </a:cubicBezTo>
                <a:cubicBezTo>
                  <a:pt x="5992" y="741"/>
                  <a:pt x="6000" y="748"/>
                  <a:pt x="6008" y="748"/>
                </a:cubicBezTo>
                <a:cubicBezTo>
                  <a:pt x="6016" y="748"/>
                  <a:pt x="6043" y="737"/>
                  <a:pt x="6043" y="737"/>
                </a:cubicBezTo>
                <a:cubicBezTo>
                  <a:pt x="6078" y="743"/>
                  <a:pt x="6078" y="743"/>
                  <a:pt x="6078" y="743"/>
                </a:cubicBezTo>
                <a:cubicBezTo>
                  <a:pt x="6052" y="755"/>
                  <a:pt x="6052" y="755"/>
                  <a:pt x="6052" y="755"/>
                </a:cubicBezTo>
                <a:cubicBezTo>
                  <a:pt x="6052" y="755"/>
                  <a:pt x="6072" y="758"/>
                  <a:pt x="6072" y="762"/>
                </a:cubicBezTo>
                <a:cubicBezTo>
                  <a:pt x="6072" y="766"/>
                  <a:pt x="6027" y="766"/>
                  <a:pt x="6023" y="767"/>
                </a:cubicBezTo>
                <a:cubicBezTo>
                  <a:pt x="6019" y="768"/>
                  <a:pt x="5988" y="766"/>
                  <a:pt x="5994" y="773"/>
                </a:cubicBezTo>
                <a:cubicBezTo>
                  <a:pt x="6000" y="780"/>
                  <a:pt x="6013" y="775"/>
                  <a:pt x="6026" y="776"/>
                </a:cubicBezTo>
                <a:cubicBezTo>
                  <a:pt x="6039" y="777"/>
                  <a:pt x="6053" y="789"/>
                  <a:pt x="6053" y="789"/>
                </a:cubicBezTo>
                <a:cubicBezTo>
                  <a:pt x="6076" y="785"/>
                  <a:pt x="6076" y="785"/>
                  <a:pt x="6076" y="785"/>
                </a:cubicBezTo>
                <a:cubicBezTo>
                  <a:pt x="6063" y="795"/>
                  <a:pt x="6063" y="795"/>
                  <a:pt x="6063" y="795"/>
                </a:cubicBezTo>
                <a:cubicBezTo>
                  <a:pt x="6073" y="799"/>
                  <a:pt x="6073" y="799"/>
                  <a:pt x="6073" y="799"/>
                </a:cubicBezTo>
                <a:cubicBezTo>
                  <a:pt x="6073" y="799"/>
                  <a:pt x="6070" y="808"/>
                  <a:pt x="6063" y="812"/>
                </a:cubicBezTo>
                <a:cubicBezTo>
                  <a:pt x="6056" y="816"/>
                  <a:pt x="6023" y="810"/>
                  <a:pt x="6029" y="819"/>
                </a:cubicBezTo>
                <a:cubicBezTo>
                  <a:pt x="6035" y="828"/>
                  <a:pt x="6063" y="824"/>
                  <a:pt x="6070" y="824"/>
                </a:cubicBezTo>
                <a:cubicBezTo>
                  <a:pt x="6077" y="824"/>
                  <a:pt x="6086" y="817"/>
                  <a:pt x="6086" y="817"/>
                </a:cubicBezTo>
                <a:cubicBezTo>
                  <a:pt x="6104" y="828"/>
                  <a:pt x="6104" y="828"/>
                  <a:pt x="6104" y="828"/>
                </a:cubicBezTo>
                <a:cubicBezTo>
                  <a:pt x="6112" y="821"/>
                  <a:pt x="6112" y="821"/>
                  <a:pt x="6112" y="821"/>
                </a:cubicBezTo>
                <a:cubicBezTo>
                  <a:pt x="6112" y="821"/>
                  <a:pt x="6109" y="827"/>
                  <a:pt x="6119" y="832"/>
                </a:cubicBezTo>
                <a:cubicBezTo>
                  <a:pt x="6129" y="837"/>
                  <a:pt x="6152" y="846"/>
                  <a:pt x="6160" y="844"/>
                </a:cubicBezTo>
                <a:cubicBezTo>
                  <a:pt x="6188" y="837"/>
                  <a:pt x="6188" y="843"/>
                  <a:pt x="6195" y="838"/>
                </a:cubicBezTo>
                <a:cubicBezTo>
                  <a:pt x="6202" y="833"/>
                  <a:pt x="6199" y="825"/>
                  <a:pt x="6199" y="825"/>
                </a:cubicBezTo>
                <a:cubicBezTo>
                  <a:pt x="6199" y="825"/>
                  <a:pt x="6218" y="833"/>
                  <a:pt x="6226" y="830"/>
                </a:cubicBezTo>
                <a:cubicBezTo>
                  <a:pt x="6234" y="827"/>
                  <a:pt x="6234" y="820"/>
                  <a:pt x="6234" y="820"/>
                </a:cubicBezTo>
                <a:cubicBezTo>
                  <a:pt x="6234" y="820"/>
                  <a:pt x="6245" y="824"/>
                  <a:pt x="6250" y="824"/>
                </a:cubicBezTo>
                <a:cubicBezTo>
                  <a:pt x="6255" y="824"/>
                  <a:pt x="6293" y="801"/>
                  <a:pt x="6301" y="800"/>
                </a:cubicBezTo>
                <a:cubicBezTo>
                  <a:pt x="6309" y="799"/>
                  <a:pt x="6320" y="806"/>
                  <a:pt x="6327" y="799"/>
                </a:cubicBezTo>
                <a:cubicBezTo>
                  <a:pt x="6334" y="792"/>
                  <a:pt x="6335" y="781"/>
                  <a:pt x="6335" y="781"/>
                </a:cubicBezTo>
                <a:cubicBezTo>
                  <a:pt x="6335" y="781"/>
                  <a:pt x="6342" y="781"/>
                  <a:pt x="6351" y="777"/>
                </a:cubicBezTo>
                <a:cubicBezTo>
                  <a:pt x="6360" y="773"/>
                  <a:pt x="6371" y="763"/>
                  <a:pt x="6371" y="763"/>
                </a:cubicBezTo>
                <a:cubicBezTo>
                  <a:pt x="6361" y="762"/>
                  <a:pt x="6361" y="762"/>
                  <a:pt x="6361" y="762"/>
                </a:cubicBezTo>
                <a:cubicBezTo>
                  <a:pt x="6361" y="762"/>
                  <a:pt x="6384" y="751"/>
                  <a:pt x="6370" y="744"/>
                </a:cubicBezTo>
                <a:close/>
                <a:moveTo>
                  <a:pt x="6577" y="1229"/>
                </a:moveTo>
                <a:cubicBezTo>
                  <a:pt x="6592" y="1229"/>
                  <a:pt x="6599" y="1218"/>
                  <a:pt x="6588" y="1216"/>
                </a:cubicBezTo>
                <a:cubicBezTo>
                  <a:pt x="6577" y="1214"/>
                  <a:pt x="6568" y="1229"/>
                  <a:pt x="6577" y="1229"/>
                </a:cubicBezTo>
                <a:close/>
                <a:moveTo>
                  <a:pt x="6553" y="1123"/>
                </a:moveTo>
                <a:cubicBezTo>
                  <a:pt x="6547" y="1123"/>
                  <a:pt x="6544" y="1123"/>
                  <a:pt x="6542" y="1131"/>
                </a:cubicBezTo>
                <a:cubicBezTo>
                  <a:pt x="6556" y="1131"/>
                  <a:pt x="6556" y="1131"/>
                  <a:pt x="6556" y="1131"/>
                </a:cubicBezTo>
                <a:cubicBezTo>
                  <a:pt x="6556" y="1131"/>
                  <a:pt x="6559" y="1123"/>
                  <a:pt x="6553" y="1123"/>
                </a:cubicBezTo>
                <a:close/>
                <a:moveTo>
                  <a:pt x="6576" y="1346"/>
                </a:moveTo>
                <a:cubicBezTo>
                  <a:pt x="6576" y="1336"/>
                  <a:pt x="6567" y="1329"/>
                  <a:pt x="6567" y="1329"/>
                </a:cubicBezTo>
                <a:cubicBezTo>
                  <a:pt x="6567" y="1329"/>
                  <a:pt x="6567" y="1320"/>
                  <a:pt x="6565" y="1315"/>
                </a:cubicBezTo>
                <a:cubicBezTo>
                  <a:pt x="6565" y="1311"/>
                  <a:pt x="6574" y="1310"/>
                  <a:pt x="6579" y="1308"/>
                </a:cubicBezTo>
                <a:cubicBezTo>
                  <a:pt x="6581" y="1308"/>
                  <a:pt x="6583" y="1307"/>
                  <a:pt x="6584" y="1306"/>
                </a:cubicBezTo>
                <a:cubicBezTo>
                  <a:pt x="6587" y="1303"/>
                  <a:pt x="6589" y="1297"/>
                  <a:pt x="6589" y="1297"/>
                </a:cubicBezTo>
                <a:cubicBezTo>
                  <a:pt x="6589" y="1297"/>
                  <a:pt x="6594" y="1304"/>
                  <a:pt x="6597" y="1298"/>
                </a:cubicBezTo>
                <a:cubicBezTo>
                  <a:pt x="6600" y="1292"/>
                  <a:pt x="6607" y="1282"/>
                  <a:pt x="6600" y="1276"/>
                </a:cubicBezTo>
                <a:cubicBezTo>
                  <a:pt x="6593" y="1270"/>
                  <a:pt x="6593" y="1261"/>
                  <a:pt x="6593" y="1261"/>
                </a:cubicBezTo>
                <a:cubicBezTo>
                  <a:pt x="6588" y="1263"/>
                  <a:pt x="6588" y="1263"/>
                  <a:pt x="6588" y="1263"/>
                </a:cubicBezTo>
                <a:cubicBezTo>
                  <a:pt x="6588" y="1263"/>
                  <a:pt x="6583" y="1251"/>
                  <a:pt x="6576" y="1249"/>
                </a:cubicBezTo>
                <a:cubicBezTo>
                  <a:pt x="6569" y="1247"/>
                  <a:pt x="6551" y="1250"/>
                  <a:pt x="6551" y="1250"/>
                </a:cubicBezTo>
                <a:cubicBezTo>
                  <a:pt x="6551" y="1250"/>
                  <a:pt x="6551" y="1250"/>
                  <a:pt x="6551" y="1249"/>
                </a:cubicBezTo>
                <a:cubicBezTo>
                  <a:pt x="6550" y="1248"/>
                  <a:pt x="6548" y="1246"/>
                  <a:pt x="6543" y="1244"/>
                </a:cubicBezTo>
                <a:cubicBezTo>
                  <a:pt x="6536" y="1242"/>
                  <a:pt x="6528" y="1256"/>
                  <a:pt x="6528" y="1256"/>
                </a:cubicBezTo>
                <a:cubicBezTo>
                  <a:pt x="6524" y="1246"/>
                  <a:pt x="6524" y="1246"/>
                  <a:pt x="6524" y="1246"/>
                </a:cubicBezTo>
                <a:cubicBezTo>
                  <a:pt x="6524" y="1246"/>
                  <a:pt x="6501" y="1246"/>
                  <a:pt x="6497" y="1251"/>
                </a:cubicBezTo>
                <a:cubicBezTo>
                  <a:pt x="6493" y="1257"/>
                  <a:pt x="6489" y="1272"/>
                  <a:pt x="6489" y="1272"/>
                </a:cubicBezTo>
                <a:cubicBezTo>
                  <a:pt x="6489" y="1272"/>
                  <a:pt x="6474" y="1271"/>
                  <a:pt x="6474" y="1277"/>
                </a:cubicBezTo>
                <a:cubicBezTo>
                  <a:pt x="6474" y="1283"/>
                  <a:pt x="6496" y="1279"/>
                  <a:pt x="6492" y="1286"/>
                </a:cubicBezTo>
                <a:cubicBezTo>
                  <a:pt x="6488" y="1293"/>
                  <a:pt x="6484" y="1289"/>
                  <a:pt x="6482" y="1292"/>
                </a:cubicBezTo>
                <a:cubicBezTo>
                  <a:pt x="6480" y="1295"/>
                  <a:pt x="6477" y="1299"/>
                  <a:pt x="6477" y="1299"/>
                </a:cubicBezTo>
                <a:cubicBezTo>
                  <a:pt x="6459" y="1298"/>
                  <a:pt x="6459" y="1298"/>
                  <a:pt x="6459" y="1298"/>
                </a:cubicBezTo>
                <a:cubicBezTo>
                  <a:pt x="6459" y="1303"/>
                  <a:pt x="6459" y="1303"/>
                  <a:pt x="6459" y="1303"/>
                </a:cubicBezTo>
                <a:cubicBezTo>
                  <a:pt x="6459" y="1303"/>
                  <a:pt x="6446" y="1289"/>
                  <a:pt x="6438" y="1293"/>
                </a:cubicBezTo>
                <a:cubicBezTo>
                  <a:pt x="6430" y="1297"/>
                  <a:pt x="6420" y="1296"/>
                  <a:pt x="6420" y="1296"/>
                </a:cubicBezTo>
                <a:cubicBezTo>
                  <a:pt x="6420" y="1296"/>
                  <a:pt x="6418" y="1313"/>
                  <a:pt x="6423" y="1313"/>
                </a:cubicBezTo>
                <a:cubicBezTo>
                  <a:pt x="6428" y="1313"/>
                  <a:pt x="6432" y="1321"/>
                  <a:pt x="6432" y="1321"/>
                </a:cubicBezTo>
                <a:cubicBezTo>
                  <a:pt x="6421" y="1328"/>
                  <a:pt x="6421" y="1328"/>
                  <a:pt x="6421" y="1328"/>
                </a:cubicBezTo>
                <a:cubicBezTo>
                  <a:pt x="6421" y="1328"/>
                  <a:pt x="6410" y="1332"/>
                  <a:pt x="6415" y="1340"/>
                </a:cubicBezTo>
                <a:cubicBezTo>
                  <a:pt x="6420" y="1348"/>
                  <a:pt x="6438" y="1349"/>
                  <a:pt x="6438" y="1349"/>
                </a:cubicBezTo>
                <a:cubicBezTo>
                  <a:pt x="6438" y="1349"/>
                  <a:pt x="6457" y="1341"/>
                  <a:pt x="6456" y="1349"/>
                </a:cubicBezTo>
                <a:cubicBezTo>
                  <a:pt x="6455" y="1357"/>
                  <a:pt x="6440" y="1358"/>
                  <a:pt x="6440" y="1358"/>
                </a:cubicBezTo>
                <a:cubicBezTo>
                  <a:pt x="6440" y="1372"/>
                  <a:pt x="6440" y="1372"/>
                  <a:pt x="6440" y="1372"/>
                </a:cubicBezTo>
                <a:cubicBezTo>
                  <a:pt x="6440" y="1372"/>
                  <a:pt x="6427" y="1367"/>
                  <a:pt x="6425" y="1376"/>
                </a:cubicBezTo>
                <a:cubicBezTo>
                  <a:pt x="6423" y="1385"/>
                  <a:pt x="6420" y="1398"/>
                  <a:pt x="6420" y="1398"/>
                </a:cubicBezTo>
                <a:cubicBezTo>
                  <a:pt x="6420" y="1398"/>
                  <a:pt x="6395" y="1398"/>
                  <a:pt x="6394" y="1403"/>
                </a:cubicBezTo>
                <a:cubicBezTo>
                  <a:pt x="6393" y="1408"/>
                  <a:pt x="6405" y="1409"/>
                  <a:pt x="6405" y="1409"/>
                </a:cubicBezTo>
                <a:cubicBezTo>
                  <a:pt x="6405" y="1409"/>
                  <a:pt x="6390" y="1411"/>
                  <a:pt x="6390" y="1418"/>
                </a:cubicBezTo>
                <a:cubicBezTo>
                  <a:pt x="6390" y="1426"/>
                  <a:pt x="6397" y="1425"/>
                  <a:pt x="6397" y="1425"/>
                </a:cubicBezTo>
                <a:cubicBezTo>
                  <a:pt x="6420" y="1422"/>
                  <a:pt x="6420" y="1422"/>
                  <a:pt x="6420" y="1422"/>
                </a:cubicBezTo>
                <a:cubicBezTo>
                  <a:pt x="6409" y="1434"/>
                  <a:pt x="6409" y="1434"/>
                  <a:pt x="6409" y="1434"/>
                </a:cubicBezTo>
                <a:cubicBezTo>
                  <a:pt x="6409" y="1434"/>
                  <a:pt x="6426" y="1429"/>
                  <a:pt x="6425" y="1432"/>
                </a:cubicBezTo>
                <a:cubicBezTo>
                  <a:pt x="6424" y="1435"/>
                  <a:pt x="6404" y="1444"/>
                  <a:pt x="6419" y="1444"/>
                </a:cubicBezTo>
                <a:cubicBezTo>
                  <a:pt x="6434" y="1444"/>
                  <a:pt x="6455" y="1438"/>
                  <a:pt x="6464" y="1433"/>
                </a:cubicBezTo>
                <a:cubicBezTo>
                  <a:pt x="6473" y="1428"/>
                  <a:pt x="6473" y="1420"/>
                  <a:pt x="6473" y="1420"/>
                </a:cubicBezTo>
                <a:cubicBezTo>
                  <a:pt x="6473" y="1420"/>
                  <a:pt x="6483" y="1426"/>
                  <a:pt x="6492" y="1420"/>
                </a:cubicBezTo>
                <a:cubicBezTo>
                  <a:pt x="6501" y="1415"/>
                  <a:pt x="6502" y="1409"/>
                  <a:pt x="6514" y="1408"/>
                </a:cubicBezTo>
                <a:cubicBezTo>
                  <a:pt x="6525" y="1407"/>
                  <a:pt x="6530" y="1407"/>
                  <a:pt x="6530" y="1407"/>
                </a:cubicBezTo>
                <a:cubicBezTo>
                  <a:pt x="6533" y="1401"/>
                  <a:pt x="6533" y="1401"/>
                  <a:pt x="6533" y="1401"/>
                </a:cubicBezTo>
                <a:cubicBezTo>
                  <a:pt x="6558" y="1402"/>
                  <a:pt x="6558" y="1402"/>
                  <a:pt x="6558" y="1402"/>
                </a:cubicBezTo>
                <a:cubicBezTo>
                  <a:pt x="6557" y="1390"/>
                  <a:pt x="6557" y="1390"/>
                  <a:pt x="6557" y="1390"/>
                </a:cubicBezTo>
                <a:cubicBezTo>
                  <a:pt x="6557" y="1390"/>
                  <a:pt x="6569" y="1392"/>
                  <a:pt x="6569" y="1388"/>
                </a:cubicBezTo>
                <a:cubicBezTo>
                  <a:pt x="6569" y="1384"/>
                  <a:pt x="6564" y="1380"/>
                  <a:pt x="6568" y="1375"/>
                </a:cubicBezTo>
                <a:cubicBezTo>
                  <a:pt x="6571" y="1370"/>
                  <a:pt x="6576" y="1356"/>
                  <a:pt x="6576" y="1346"/>
                </a:cubicBezTo>
                <a:close/>
                <a:moveTo>
                  <a:pt x="6590" y="1178"/>
                </a:moveTo>
                <a:cubicBezTo>
                  <a:pt x="6586" y="1178"/>
                  <a:pt x="6580" y="1190"/>
                  <a:pt x="6584" y="1193"/>
                </a:cubicBezTo>
                <a:cubicBezTo>
                  <a:pt x="6588" y="1196"/>
                  <a:pt x="6601" y="1189"/>
                  <a:pt x="6601" y="1189"/>
                </a:cubicBezTo>
                <a:cubicBezTo>
                  <a:pt x="6601" y="1189"/>
                  <a:pt x="6594" y="1178"/>
                  <a:pt x="6590" y="1178"/>
                </a:cubicBezTo>
                <a:close/>
                <a:moveTo>
                  <a:pt x="7967" y="2161"/>
                </a:moveTo>
                <a:cubicBezTo>
                  <a:pt x="7957" y="2153"/>
                  <a:pt x="7959" y="2171"/>
                  <a:pt x="7959" y="2171"/>
                </a:cubicBezTo>
                <a:cubicBezTo>
                  <a:pt x="7973" y="2178"/>
                  <a:pt x="7977" y="2169"/>
                  <a:pt x="7967" y="2161"/>
                </a:cubicBezTo>
                <a:close/>
                <a:moveTo>
                  <a:pt x="7937" y="2078"/>
                </a:moveTo>
                <a:cubicBezTo>
                  <a:pt x="7918" y="2083"/>
                  <a:pt x="7918" y="2083"/>
                  <a:pt x="7918" y="2083"/>
                </a:cubicBezTo>
                <a:cubicBezTo>
                  <a:pt x="7919" y="2099"/>
                  <a:pt x="7932" y="2092"/>
                  <a:pt x="7932" y="2092"/>
                </a:cubicBezTo>
                <a:cubicBezTo>
                  <a:pt x="7932" y="2092"/>
                  <a:pt x="7937" y="2103"/>
                  <a:pt x="7946" y="2099"/>
                </a:cubicBezTo>
                <a:cubicBezTo>
                  <a:pt x="7955" y="2095"/>
                  <a:pt x="7937" y="2078"/>
                  <a:pt x="7937" y="2078"/>
                </a:cubicBezTo>
                <a:close/>
                <a:moveTo>
                  <a:pt x="7491" y="141"/>
                </a:moveTo>
                <a:cubicBezTo>
                  <a:pt x="7519" y="141"/>
                  <a:pt x="7519" y="141"/>
                  <a:pt x="7519" y="141"/>
                </a:cubicBezTo>
                <a:cubicBezTo>
                  <a:pt x="7519" y="141"/>
                  <a:pt x="7550" y="152"/>
                  <a:pt x="7554" y="150"/>
                </a:cubicBezTo>
                <a:cubicBezTo>
                  <a:pt x="7558" y="149"/>
                  <a:pt x="7580" y="145"/>
                  <a:pt x="7585" y="145"/>
                </a:cubicBezTo>
                <a:cubicBezTo>
                  <a:pt x="7591" y="145"/>
                  <a:pt x="7637" y="163"/>
                  <a:pt x="7637" y="163"/>
                </a:cubicBezTo>
                <a:cubicBezTo>
                  <a:pt x="7651" y="148"/>
                  <a:pt x="7651" y="148"/>
                  <a:pt x="7651" y="148"/>
                </a:cubicBezTo>
                <a:cubicBezTo>
                  <a:pt x="7691" y="149"/>
                  <a:pt x="7691" y="149"/>
                  <a:pt x="7691" y="149"/>
                </a:cubicBezTo>
                <a:cubicBezTo>
                  <a:pt x="7694" y="136"/>
                  <a:pt x="7694" y="136"/>
                  <a:pt x="7694" y="136"/>
                </a:cubicBezTo>
                <a:cubicBezTo>
                  <a:pt x="7694" y="136"/>
                  <a:pt x="7715" y="143"/>
                  <a:pt x="7726" y="122"/>
                </a:cubicBezTo>
                <a:cubicBezTo>
                  <a:pt x="7737" y="101"/>
                  <a:pt x="7691" y="118"/>
                  <a:pt x="7691" y="118"/>
                </a:cubicBezTo>
                <a:cubicBezTo>
                  <a:pt x="7691" y="118"/>
                  <a:pt x="7688" y="108"/>
                  <a:pt x="7664" y="108"/>
                </a:cubicBezTo>
                <a:cubicBezTo>
                  <a:pt x="7640" y="108"/>
                  <a:pt x="7623" y="120"/>
                  <a:pt x="7616" y="118"/>
                </a:cubicBezTo>
                <a:cubicBezTo>
                  <a:pt x="7609" y="117"/>
                  <a:pt x="7615" y="105"/>
                  <a:pt x="7596" y="105"/>
                </a:cubicBezTo>
                <a:cubicBezTo>
                  <a:pt x="7578" y="105"/>
                  <a:pt x="7573" y="121"/>
                  <a:pt x="7573" y="121"/>
                </a:cubicBezTo>
                <a:cubicBezTo>
                  <a:pt x="7529" y="105"/>
                  <a:pt x="7529" y="105"/>
                  <a:pt x="7529" y="105"/>
                </a:cubicBezTo>
                <a:cubicBezTo>
                  <a:pt x="7529" y="105"/>
                  <a:pt x="7508" y="112"/>
                  <a:pt x="7485" y="117"/>
                </a:cubicBezTo>
                <a:cubicBezTo>
                  <a:pt x="7463" y="121"/>
                  <a:pt x="7478" y="105"/>
                  <a:pt x="7478" y="105"/>
                </a:cubicBezTo>
                <a:cubicBezTo>
                  <a:pt x="7457" y="115"/>
                  <a:pt x="7457" y="115"/>
                  <a:pt x="7457" y="115"/>
                </a:cubicBezTo>
                <a:cubicBezTo>
                  <a:pt x="7467" y="129"/>
                  <a:pt x="7467" y="129"/>
                  <a:pt x="7467" y="129"/>
                </a:cubicBezTo>
                <a:lnTo>
                  <a:pt x="7491" y="141"/>
                </a:lnTo>
                <a:close/>
                <a:moveTo>
                  <a:pt x="7945" y="2230"/>
                </a:moveTo>
                <a:cubicBezTo>
                  <a:pt x="7952" y="2235"/>
                  <a:pt x="7962" y="2227"/>
                  <a:pt x="7953" y="2223"/>
                </a:cubicBezTo>
                <a:cubicBezTo>
                  <a:pt x="7944" y="2219"/>
                  <a:pt x="7940" y="2227"/>
                  <a:pt x="7945" y="2230"/>
                </a:cubicBezTo>
                <a:close/>
                <a:moveTo>
                  <a:pt x="7943" y="2171"/>
                </a:moveTo>
                <a:cubicBezTo>
                  <a:pt x="7939" y="2167"/>
                  <a:pt x="7927" y="2170"/>
                  <a:pt x="7927" y="2178"/>
                </a:cubicBezTo>
                <a:cubicBezTo>
                  <a:pt x="7927" y="2183"/>
                  <a:pt x="7947" y="2175"/>
                  <a:pt x="7943" y="2171"/>
                </a:cubicBezTo>
                <a:close/>
                <a:moveTo>
                  <a:pt x="7898" y="2198"/>
                </a:moveTo>
                <a:cubicBezTo>
                  <a:pt x="7900" y="2210"/>
                  <a:pt x="7910" y="2213"/>
                  <a:pt x="7915" y="2205"/>
                </a:cubicBezTo>
                <a:cubicBezTo>
                  <a:pt x="7921" y="2195"/>
                  <a:pt x="7896" y="2186"/>
                  <a:pt x="7898" y="2198"/>
                </a:cubicBezTo>
                <a:close/>
                <a:moveTo>
                  <a:pt x="7885" y="2175"/>
                </a:moveTo>
                <a:cubicBezTo>
                  <a:pt x="7891" y="2164"/>
                  <a:pt x="7891" y="2164"/>
                  <a:pt x="7891" y="2164"/>
                </a:cubicBezTo>
                <a:cubicBezTo>
                  <a:pt x="7869" y="2147"/>
                  <a:pt x="7869" y="2147"/>
                  <a:pt x="7869" y="2147"/>
                </a:cubicBezTo>
                <a:lnTo>
                  <a:pt x="7885" y="2175"/>
                </a:lnTo>
                <a:close/>
                <a:moveTo>
                  <a:pt x="8551" y="596"/>
                </a:moveTo>
                <a:cubicBezTo>
                  <a:pt x="8573" y="601"/>
                  <a:pt x="8581" y="594"/>
                  <a:pt x="8588" y="590"/>
                </a:cubicBezTo>
                <a:cubicBezTo>
                  <a:pt x="8595" y="586"/>
                  <a:pt x="8601" y="578"/>
                  <a:pt x="8601" y="578"/>
                </a:cubicBezTo>
                <a:cubicBezTo>
                  <a:pt x="8610" y="577"/>
                  <a:pt x="8610" y="577"/>
                  <a:pt x="8610" y="577"/>
                </a:cubicBezTo>
                <a:cubicBezTo>
                  <a:pt x="8610" y="577"/>
                  <a:pt x="8602" y="566"/>
                  <a:pt x="8576" y="560"/>
                </a:cubicBezTo>
                <a:cubicBezTo>
                  <a:pt x="8550" y="554"/>
                  <a:pt x="8535" y="577"/>
                  <a:pt x="8535" y="577"/>
                </a:cubicBezTo>
                <a:cubicBezTo>
                  <a:pt x="8535" y="580"/>
                  <a:pt x="8529" y="592"/>
                  <a:pt x="8551" y="596"/>
                </a:cubicBezTo>
                <a:close/>
                <a:moveTo>
                  <a:pt x="7829" y="2293"/>
                </a:moveTo>
                <a:cubicBezTo>
                  <a:pt x="7838" y="2303"/>
                  <a:pt x="7843" y="2296"/>
                  <a:pt x="7843" y="2296"/>
                </a:cubicBezTo>
                <a:cubicBezTo>
                  <a:pt x="7849" y="2302"/>
                  <a:pt x="7849" y="2302"/>
                  <a:pt x="7849" y="2302"/>
                </a:cubicBezTo>
                <a:cubicBezTo>
                  <a:pt x="7873" y="2303"/>
                  <a:pt x="7873" y="2303"/>
                  <a:pt x="7873" y="2303"/>
                </a:cubicBezTo>
                <a:cubicBezTo>
                  <a:pt x="7881" y="2318"/>
                  <a:pt x="7881" y="2318"/>
                  <a:pt x="7881" y="2318"/>
                </a:cubicBezTo>
                <a:cubicBezTo>
                  <a:pt x="7906" y="2317"/>
                  <a:pt x="7906" y="2317"/>
                  <a:pt x="7906" y="2317"/>
                </a:cubicBezTo>
                <a:cubicBezTo>
                  <a:pt x="7909" y="2313"/>
                  <a:pt x="7909" y="2313"/>
                  <a:pt x="7909" y="2313"/>
                </a:cubicBezTo>
                <a:cubicBezTo>
                  <a:pt x="7909" y="2313"/>
                  <a:pt x="7947" y="2318"/>
                  <a:pt x="7949" y="2304"/>
                </a:cubicBezTo>
                <a:cubicBezTo>
                  <a:pt x="7951" y="2290"/>
                  <a:pt x="7931" y="2301"/>
                  <a:pt x="7927" y="2303"/>
                </a:cubicBezTo>
                <a:cubicBezTo>
                  <a:pt x="7923" y="2305"/>
                  <a:pt x="7920" y="2293"/>
                  <a:pt x="7920" y="2293"/>
                </a:cubicBezTo>
                <a:cubicBezTo>
                  <a:pt x="7898" y="2292"/>
                  <a:pt x="7898" y="2292"/>
                  <a:pt x="7898" y="2292"/>
                </a:cubicBezTo>
                <a:cubicBezTo>
                  <a:pt x="7877" y="2287"/>
                  <a:pt x="7877" y="2287"/>
                  <a:pt x="7877" y="2287"/>
                </a:cubicBezTo>
                <a:cubicBezTo>
                  <a:pt x="7856" y="2287"/>
                  <a:pt x="7856" y="2287"/>
                  <a:pt x="7856" y="2287"/>
                </a:cubicBezTo>
                <a:cubicBezTo>
                  <a:pt x="7836" y="2276"/>
                  <a:pt x="7836" y="2276"/>
                  <a:pt x="7836" y="2276"/>
                </a:cubicBezTo>
                <a:cubicBezTo>
                  <a:pt x="7836" y="2276"/>
                  <a:pt x="7820" y="2283"/>
                  <a:pt x="7829" y="2293"/>
                </a:cubicBezTo>
                <a:close/>
                <a:moveTo>
                  <a:pt x="7851" y="2036"/>
                </a:moveTo>
                <a:cubicBezTo>
                  <a:pt x="7858" y="2029"/>
                  <a:pt x="7858" y="2029"/>
                  <a:pt x="7858" y="2029"/>
                </a:cubicBezTo>
                <a:cubicBezTo>
                  <a:pt x="7833" y="2024"/>
                  <a:pt x="7833" y="2024"/>
                  <a:pt x="7833" y="2024"/>
                </a:cubicBezTo>
                <a:lnTo>
                  <a:pt x="7851" y="2036"/>
                </a:lnTo>
                <a:close/>
                <a:moveTo>
                  <a:pt x="7934" y="2119"/>
                </a:moveTo>
                <a:cubicBezTo>
                  <a:pt x="7921" y="2119"/>
                  <a:pt x="7921" y="2119"/>
                  <a:pt x="7921" y="2119"/>
                </a:cubicBezTo>
                <a:cubicBezTo>
                  <a:pt x="7920" y="2131"/>
                  <a:pt x="7920" y="2131"/>
                  <a:pt x="7920" y="2131"/>
                </a:cubicBezTo>
                <a:cubicBezTo>
                  <a:pt x="7929" y="2147"/>
                  <a:pt x="7929" y="2147"/>
                  <a:pt x="7929" y="2147"/>
                </a:cubicBezTo>
                <a:lnTo>
                  <a:pt x="7934" y="2119"/>
                </a:lnTo>
                <a:close/>
                <a:moveTo>
                  <a:pt x="7966" y="2200"/>
                </a:moveTo>
                <a:cubicBezTo>
                  <a:pt x="7975" y="2187"/>
                  <a:pt x="7975" y="2187"/>
                  <a:pt x="7975" y="2187"/>
                </a:cubicBezTo>
                <a:cubicBezTo>
                  <a:pt x="7963" y="2187"/>
                  <a:pt x="7963" y="2187"/>
                  <a:pt x="7963" y="2187"/>
                </a:cubicBezTo>
                <a:lnTo>
                  <a:pt x="7966" y="2200"/>
                </a:lnTo>
                <a:close/>
                <a:moveTo>
                  <a:pt x="7880" y="2228"/>
                </a:moveTo>
                <a:cubicBezTo>
                  <a:pt x="7879" y="2231"/>
                  <a:pt x="7888" y="2233"/>
                  <a:pt x="7887" y="2226"/>
                </a:cubicBezTo>
                <a:cubicBezTo>
                  <a:pt x="7886" y="2219"/>
                  <a:pt x="7881" y="2222"/>
                  <a:pt x="7880" y="2228"/>
                </a:cubicBezTo>
                <a:close/>
                <a:moveTo>
                  <a:pt x="7252" y="150"/>
                </a:moveTo>
                <a:cubicBezTo>
                  <a:pt x="7259" y="155"/>
                  <a:pt x="7274" y="152"/>
                  <a:pt x="7277" y="156"/>
                </a:cubicBezTo>
                <a:cubicBezTo>
                  <a:pt x="7280" y="160"/>
                  <a:pt x="7261" y="170"/>
                  <a:pt x="7261" y="170"/>
                </a:cubicBezTo>
                <a:cubicBezTo>
                  <a:pt x="7290" y="181"/>
                  <a:pt x="7290" y="181"/>
                  <a:pt x="7290" y="181"/>
                </a:cubicBezTo>
                <a:cubicBezTo>
                  <a:pt x="7290" y="181"/>
                  <a:pt x="7305" y="191"/>
                  <a:pt x="7319" y="194"/>
                </a:cubicBezTo>
                <a:cubicBezTo>
                  <a:pt x="7333" y="197"/>
                  <a:pt x="7343" y="177"/>
                  <a:pt x="7343" y="177"/>
                </a:cubicBezTo>
                <a:cubicBezTo>
                  <a:pt x="7371" y="172"/>
                  <a:pt x="7371" y="172"/>
                  <a:pt x="7371" y="172"/>
                </a:cubicBezTo>
                <a:cubicBezTo>
                  <a:pt x="7394" y="186"/>
                  <a:pt x="7394" y="186"/>
                  <a:pt x="7394" y="186"/>
                </a:cubicBezTo>
                <a:cubicBezTo>
                  <a:pt x="7394" y="186"/>
                  <a:pt x="7375" y="191"/>
                  <a:pt x="7357" y="195"/>
                </a:cubicBezTo>
                <a:cubicBezTo>
                  <a:pt x="7339" y="200"/>
                  <a:pt x="7340" y="207"/>
                  <a:pt x="7340" y="207"/>
                </a:cubicBezTo>
                <a:cubicBezTo>
                  <a:pt x="7340" y="207"/>
                  <a:pt x="7390" y="211"/>
                  <a:pt x="7383" y="212"/>
                </a:cubicBezTo>
                <a:cubicBezTo>
                  <a:pt x="7375" y="214"/>
                  <a:pt x="7345" y="226"/>
                  <a:pt x="7345" y="226"/>
                </a:cubicBezTo>
                <a:cubicBezTo>
                  <a:pt x="7378" y="238"/>
                  <a:pt x="7378" y="238"/>
                  <a:pt x="7378" y="238"/>
                </a:cubicBezTo>
                <a:cubicBezTo>
                  <a:pt x="7378" y="238"/>
                  <a:pt x="7408" y="253"/>
                  <a:pt x="7433" y="249"/>
                </a:cubicBezTo>
                <a:cubicBezTo>
                  <a:pt x="7459" y="245"/>
                  <a:pt x="7440" y="229"/>
                  <a:pt x="7440" y="222"/>
                </a:cubicBezTo>
                <a:cubicBezTo>
                  <a:pt x="7440" y="215"/>
                  <a:pt x="7470" y="215"/>
                  <a:pt x="7470" y="215"/>
                </a:cubicBezTo>
                <a:cubicBezTo>
                  <a:pt x="7470" y="201"/>
                  <a:pt x="7470" y="201"/>
                  <a:pt x="7470" y="201"/>
                </a:cubicBezTo>
                <a:cubicBezTo>
                  <a:pt x="7489" y="197"/>
                  <a:pt x="7489" y="197"/>
                  <a:pt x="7489" y="197"/>
                </a:cubicBezTo>
                <a:cubicBezTo>
                  <a:pt x="7498" y="176"/>
                  <a:pt x="7498" y="176"/>
                  <a:pt x="7498" y="176"/>
                </a:cubicBezTo>
                <a:cubicBezTo>
                  <a:pt x="7511" y="183"/>
                  <a:pt x="7511" y="183"/>
                  <a:pt x="7511" y="183"/>
                </a:cubicBezTo>
                <a:cubicBezTo>
                  <a:pt x="7527" y="174"/>
                  <a:pt x="7527" y="174"/>
                  <a:pt x="7527" y="174"/>
                </a:cubicBezTo>
                <a:cubicBezTo>
                  <a:pt x="7527" y="174"/>
                  <a:pt x="7536" y="188"/>
                  <a:pt x="7556" y="193"/>
                </a:cubicBezTo>
                <a:cubicBezTo>
                  <a:pt x="7575" y="197"/>
                  <a:pt x="7553" y="224"/>
                  <a:pt x="7553" y="224"/>
                </a:cubicBezTo>
                <a:cubicBezTo>
                  <a:pt x="7589" y="222"/>
                  <a:pt x="7589" y="222"/>
                  <a:pt x="7589" y="222"/>
                </a:cubicBezTo>
                <a:cubicBezTo>
                  <a:pt x="7589" y="222"/>
                  <a:pt x="7608" y="238"/>
                  <a:pt x="7609" y="233"/>
                </a:cubicBezTo>
                <a:cubicBezTo>
                  <a:pt x="7610" y="229"/>
                  <a:pt x="7661" y="215"/>
                  <a:pt x="7665" y="207"/>
                </a:cubicBezTo>
                <a:cubicBezTo>
                  <a:pt x="7670" y="198"/>
                  <a:pt x="7627" y="200"/>
                  <a:pt x="7627" y="200"/>
                </a:cubicBezTo>
                <a:cubicBezTo>
                  <a:pt x="7625" y="188"/>
                  <a:pt x="7625" y="188"/>
                  <a:pt x="7625" y="188"/>
                </a:cubicBezTo>
                <a:cubicBezTo>
                  <a:pt x="7589" y="183"/>
                  <a:pt x="7589" y="183"/>
                  <a:pt x="7589" y="183"/>
                </a:cubicBezTo>
                <a:cubicBezTo>
                  <a:pt x="7588" y="172"/>
                  <a:pt x="7588" y="172"/>
                  <a:pt x="7588" y="172"/>
                </a:cubicBezTo>
                <a:cubicBezTo>
                  <a:pt x="7567" y="174"/>
                  <a:pt x="7567" y="174"/>
                  <a:pt x="7567" y="174"/>
                </a:cubicBezTo>
                <a:cubicBezTo>
                  <a:pt x="7570" y="162"/>
                  <a:pt x="7570" y="162"/>
                  <a:pt x="7570" y="162"/>
                </a:cubicBezTo>
                <a:cubicBezTo>
                  <a:pt x="7519" y="163"/>
                  <a:pt x="7519" y="163"/>
                  <a:pt x="7519" y="163"/>
                </a:cubicBezTo>
                <a:cubicBezTo>
                  <a:pt x="7515" y="155"/>
                  <a:pt x="7515" y="155"/>
                  <a:pt x="7515" y="155"/>
                </a:cubicBezTo>
                <a:cubicBezTo>
                  <a:pt x="7491" y="155"/>
                  <a:pt x="7491" y="155"/>
                  <a:pt x="7491" y="155"/>
                </a:cubicBezTo>
                <a:cubicBezTo>
                  <a:pt x="7491" y="155"/>
                  <a:pt x="7488" y="142"/>
                  <a:pt x="7473" y="138"/>
                </a:cubicBezTo>
                <a:cubicBezTo>
                  <a:pt x="7457" y="134"/>
                  <a:pt x="7450" y="139"/>
                  <a:pt x="7450" y="139"/>
                </a:cubicBezTo>
                <a:cubicBezTo>
                  <a:pt x="7453" y="127"/>
                  <a:pt x="7453" y="127"/>
                  <a:pt x="7453" y="127"/>
                </a:cubicBezTo>
                <a:cubicBezTo>
                  <a:pt x="7453" y="127"/>
                  <a:pt x="7432" y="121"/>
                  <a:pt x="7404" y="122"/>
                </a:cubicBezTo>
                <a:cubicBezTo>
                  <a:pt x="7375" y="124"/>
                  <a:pt x="7412" y="156"/>
                  <a:pt x="7412" y="156"/>
                </a:cubicBezTo>
                <a:cubicBezTo>
                  <a:pt x="7412" y="156"/>
                  <a:pt x="7381" y="131"/>
                  <a:pt x="7366" y="128"/>
                </a:cubicBezTo>
                <a:cubicBezTo>
                  <a:pt x="7350" y="125"/>
                  <a:pt x="7345" y="145"/>
                  <a:pt x="7345" y="145"/>
                </a:cubicBezTo>
                <a:cubicBezTo>
                  <a:pt x="7345" y="145"/>
                  <a:pt x="7322" y="141"/>
                  <a:pt x="7316" y="138"/>
                </a:cubicBezTo>
                <a:cubicBezTo>
                  <a:pt x="7311" y="135"/>
                  <a:pt x="7329" y="125"/>
                  <a:pt x="7329" y="125"/>
                </a:cubicBezTo>
                <a:cubicBezTo>
                  <a:pt x="7292" y="128"/>
                  <a:pt x="7292" y="128"/>
                  <a:pt x="7292" y="128"/>
                </a:cubicBezTo>
                <a:cubicBezTo>
                  <a:pt x="7283" y="136"/>
                  <a:pt x="7283" y="136"/>
                  <a:pt x="7283" y="136"/>
                </a:cubicBezTo>
                <a:cubicBezTo>
                  <a:pt x="7278" y="125"/>
                  <a:pt x="7278" y="125"/>
                  <a:pt x="7278" y="125"/>
                </a:cubicBezTo>
                <a:cubicBezTo>
                  <a:pt x="7278" y="125"/>
                  <a:pt x="7254" y="132"/>
                  <a:pt x="7246" y="139"/>
                </a:cubicBezTo>
                <a:cubicBezTo>
                  <a:pt x="7246" y="139"/>
                  <a:pt x="7245" y="146"/>
                  <a:pt x="7252" y="150"/>
                </a:cubicBezTo>
                <a:close/>
                <a:moveTo>
                  <a:pt x="7923" y="2212"/>
                </a:moveTo>
                <a:cubicBezTo>
                  <a:pt x="7923" y="2221"/>
                  <a:pt x="7923" y="2221"/>
                  <a:pt x="7923" y="2221"/>
                </a:cubicBezTo>
                <a:cubicBezTo>
                  <a:pt x="7932" y="2211"/>
                  <a:pt x="7932" y="2211"/>
                  <a:pt x="7932" y="2211"/>
                </a:cubicBezTo>
                <a:lnTo>
                  <a:pt x="7923" y="2212"/>
                </a:lnTo>
                <a:close/>
                <a:moveTo>
                  <a:pt x="6620" y="1148"/>
                </a:moveTo>
                <a:cubicBezTo>
                  <a:pt x="6620" y="1148"/>
                  <a:pt x="6614" y="1153"/>
                  <a:pt x="6611" y="1156"/>
                </a:cubicBezTo>
                <a:cubicBezTo>
                  <a:pt x="6608" y="1159"/>
                  <a:pt x="6606" y="1166"/>
                  <a:pt x="6606" y="1166"/>
                </a:cubicBezTo>
                <a:cubicBezTo>
                  <a:pt x="6595" y="1171"/>
                  <a:pt x="6595" y="1171"/>
                  <a:pt x="6595" y="1171"/>
                </a:cubicBezTo>
                <a:cubicBezTo>
                  <a:pt x="6595" y="1171"/>
                  <a:pt x="6601" y="1180"/>
                  <a:pt x="6609" y="1179"/>
                </a:cubicBezTo>
                <a:cubicBezTo>
                  <a:pt x="6617" y="1178"/>
                  <a:pt x="6624" y="1170"/>
                  <a:pt x="6624" y="1170"/>
                </a:cubicBezTo>
                <a:cubicBezTo>
                  <a:pt x="6623" y="1182"/>
                  <a:pt x="6623" y="1182"/>
                  <a:pt x="6623" y="1182"/>
                </a:cubicBezTo>
                <a:cubicBezTo>
                  <a:pt x="6623" y="1182"/>
                  <a:pt x="6610" y="1188"/>
                  <a:pt x="6605" y="1196"/>
                </a:cubicBezTo>
                <a:cubicBezTo>
                  <a:pt x="6600" y="1205"/>
                  <a:pt x="6606" y="1218"/>
                  <a:pt x="6606" y="1218"/>
                </a:cubicBezTo>
                <a:cubicBezTo>
                  <a:pt x="6606" y="1218"/>
                  <a:pt x="6617" y="1210"/>
                  <a:pt x="6624" y="1215"/>
                </a:cubicBezTo>
                <a:cubicBezTo>
                  <a:pt x="6630" y="1220"/>
                  <a:pt x="6643" y="1209"/>
                  <a:pt x="6643" y="1209"/>
                </a:cubicBezTo>
                <a:cubicBezTo>
                  <a:pt x="6634" y="1219"/>
                  <a:pt x="6634" y="1219"/>
                  <a:pt x="6634" y="1219"/>
                </a:cubicBezTo>
                <a:cubicBezTo>
                  <a:pt x="6639" y="1237"/>
                  <a:pt x="6639" y="1237"/>
                  <a:pt x="6639" y="1237"/>
                </a:cubicBezTo>
                <a:cubicBezTo>
                  <a:pt x="6639" y="1237"/>
                  <a:pt x="6628" y="1250"/>
                  <a:pt x="6620" y="1264"/>
                </a:cubicBezTo>
                <a:cubicBezTo>
                  <a:pt x="6613" y="1277"/>
                  <a:pt x="6636" y="1274"/>
                  <a:pt x="6636" y="1274"/>
                </a:cubicBezTo>
                <a:cubicBezTo>
                  <a:pt x="6636" y="1274"/>
                  <a:pt x="6649" y="1268"/>
                  <a:pt x="6656" y="1271"/>
                </a:cubicBezTo>
                <a:cubicBezTo>
                  <a:pt x="6663" y="1274"/>
                  <a:pt x="6679" y="1261"/>
                  <a:pt x="6679" y="1261"/>
                </a:cubicBezTo>
                <a:cubicBezTo>
                  <a:pt x="6701" y="1263"/>
                  <a:pt x="6701" y="1263"/>
                  <a:pt x="6701" y="1263"/>
                </a:cubicBezTo>
                <a:cubicBezTo>
                  <a:pt x="6701" y="1263"/>
                  <a:pt x="6678" y="1276"/>
                  <a:pt x="6676" y="1286"/>
                </a:cubicBezTo>
                <a:cubicBezTo>
                  <a:pt x="6675" y="1296"/>
                  <a:pt x="6705" y="1303"/>
                  <a:pt x="6705" y="1303"/>
                </a:cubicBezTo>
                <a:cubicBezTo>
                  <a:pt x="6706" y="1317"/>
                  <a:pt x="6706" y="1317"/>
                  <a:pt x="6706" y="1317"/>
                </a:cubicBezTo>
                <a:cubicBezTo>
                  <a:pt x="6698" y="1329"/>
                  <a:pt x="6698" y="1329"/>
                  <a:pt x="6698" y="1329"/>
                </a:cubicBezTo>
                <a:cubicBezTo>
                  <a:pt x="6698" y="1329"/>
                  <a:pt x="6700" y="1343"/>
                  <a:pt x="6697" y="1347"/>
                </a:cubicBezTo>
                <a:cubicBezTo>
                  <a:pt x="6694" y="1351"/>
                  <a:pt x="6652" y="1345"/>
                  <a:pt x="6652" y="1345"/>
                </a:cubicBezTo>
                <a:cubicBezTo>
                  <a:pt x="6652" y="1345"/>
                  <a:pt x="6642" y="1342"/>
                  <a:pt x="6633" y="1344"/>
                </a:cubicBezTo>
                <a:cubicBezTo>
                  <a:pt x="6624" y="1346"/>
                  <a:pt x="6639" y="1357"/>
                  <a:pt x="6639" y="1357"/>
                </a:cubicBezTo>
                <a:cubicBezTo>
                  <a:pt x="6625" y="1370"/>
                  <a:pt x="6625" y="1370"/>
                  <a:pt x="6625" y="1370"/>
                </a:cubicBezTo>
                <a:cubicBezTo>
                  <a:pt x="6653" y="1368"/>
                  <a:pt x="6653" y="1368"/>
                  <a:pt x="6653" y="1368"/>
                </a:cubicBezTo>
                <a:cubicBezTo>
                  <a:pt x="6653" y="1368"/>
                  <a:pt x="6653" y="1391"/>
                  <a:pt x="6646" y="1398"/>
                </a:cubicBezTo>
                <a:cubicBezTo>
                  <a:pt x="6639" y="1405"/>
                  <a:pt x="6611" y="1413"/>
                  <a:pt x="6607" y="1416"/>
                </a:cubicBezTo>
                <a:cubicBezTo>
                  <a:pt x="6603" y="1419"/>
                  <a:pt x="6608" y="1434"/>
                  <a:pt x="6612" y="1436"/>
                </a:cubicBezTo>
                <a:cubicBezTo>
                  <a:pt x="6616" y="1438"/>
                  <a:pt x="6634" y="1424"/>
                  <a:pt x="6634" y="1424"/>
                </a:cubicBezTo>
                <a:cubicBezTo>
                  <a:pt x="6634" y="1424"/>
                  <a:pt x="6637" y="1430"/>
                  <a:pt x="6641" y="1434"/>
                </a:cubicBezTo>
                <a:cubicBezTo>
                  <a:pt x="6645" y="1438"/>
                  <a:pt x="6655" y="1434"/>
                  <a:pt x="6655" y="1434"/>
                </a:cubicBezTo>
                <a:cubicBezTo>
                  <a:pt x="6655" y="1434"/>
                  <a:pt x="6663" y="1443"/>
                  <a:pt x="6671" y="1444"/>
                </a:cubicBezTo>
                <a:cubicBezTo>
                  <a:pt x="6680" y="1445"/>
                  <a:pt x="6687" y="1440"/>
                  <a:pt x="6692" y="1435"/>
                </a:cubicBezTo>
                <a:cubicBezTo>
                  <a:pt x="6697" y="1430"/>
                  <a:pt x="6710" y="1431"/>
                  <a:pt x="6710" y="1431"/>
                </a:cubicBezTo>
                <a:cubicBezTo>
                  <a:pt x="6710" y="1431"/>
                  <a:pt x="6694" y="1446"/>
                  <a:pt x="6684" y="1453"/>
                </a:cubicBezTo>
                <a:cubicBezTo>
                  <a:pt x="6673" y="1460"/>
                  <a:pt x="6653" y="1453"/>
                  <a:pt x="6646" y="1453"/>
                </a:cubicBezTo>
                <a:cubicBezTo>
                  <a:pt x="6639" y="1453"/>
                  <a:pt x="6641" y="1463"/>
                  <a:pt x="6641" y="1463"/>
                </a:cubicBezTo>
                <a:cubicBezTo>
                  <a:pt x="6641" y="1463"/>
                  <a:pt x="6632" y="1463"/>
                  <a:pt x="6625" y="1466"/>
                </a:cubicBezTo>
                <a:cubicBezTo>
                  <a:pt x="6617" y="1469"/>
                  <a:pt x="6625" y="1475"/>
                  <a:pt x="6619" y="1484"/>
                </a:cubicBezTo>
                <a:cubicBezTo>
                  <a:pt x="6614" y="1492"/>
                  <a:pt x="6607" y="1488"/>
                  <a:pt x="6600" y="1488"/>
                </a:cubicBezTo>
                <a:cubicBezTo>
                  <a:pt x="6593" y="1488"/>
                  <a:pt x="6596" y="1498"/>
                  <a:pt x="6589" y="1504"/>
                </a:cubicBezTo>
                <a:cubicBezTo>
                  <a:pt x="6582" y="1510"/>
                  <a:pt x="6573" y="1509"/>
                  <a:pt x="6573" y="1513"/>
                </a:cubicBezTo>
                <a:cubicBezTo>
                  <a:pt x="6573" y="1517"/>
                  <a:pt x="6592" y="1517"/>
                  <a:pt x="6595" y="1517"/>
                </a:cubicBezTo>
                <a:cubicBezTo>
                  <a:pt x="6598" y="1517"/>
                  <a:pt x="6606" y="1507"/>
                  <a:pt x="6612" y="1502"/>
                </a:cubicBezTo>
                <a:cubicBezTo>
                  <a:pt x="6618" y="1497"/>
                  <a:pt x="6628" y="1498"/>
                  <a:pt x="6637" y="1498"/>
                </a:cubicBezTo>
                <a:cubicBezTo>
                  <a:pt x="6646" y="1498"/>
                  <a:pt x="6649" y="1508"/>
                  <a:pt x="6655" y="1508"/>
                </a:cubicBezTo>
                <a:cubicBezTo>
                  <a:pt x="6661" y="1508"/>
                  <a:pt x="6674" y="1483"/>
                  <a:pt x="6681" y="1480"/>
                </a:cubicBezTo>
                <a:cubicBezTo>
                  <a:pt x="6687" y="1476"/>
                  <a:pt x="6701" y="1487"/>
                  <a:pt x="6701" y="1487"/>
                </a:cubicBezTo>
                <a:cubicBezTo>
                  <a:pt x="6718" y="1488"/>
                  <a:pt x="6718" y="1488"/>
                  <a:pt x="6718" y="1488"/>
                </a:cubicBezTo>
                <a:cubicBezTo>
                  <a:pt x="6738" y="1480"/>
                  <a:pt x="6738" y="1480"/>
                  <a:pt x="6738" y="1480"/>
                </a:cubicBezTo>
                <a:cubicBezTo>
                  <a:pt x="6738" y="1480"/>
                  <a:pt x="6757" y="1489"/>
                  <a:pt x="6763" y="1488"/>
                </a:cubicBezTo>
                <a:cubicBezTo>
                  <a:pt x="6769" y="1487"/>
                  <a:pt x="6755" y="1476"/>
                  <a:pt x="6761" y="1471"/>
                </a:cubicBezTo>
                <a:cubicBezTo>
                  <a:pt x="6767" y="1466"/>
                  <a:pt x="6776" y="1481"/>
                  <a:pt x="6776" y="1481"/>
                </a:cubicBezTo>
                <a:cubicBezTo>
                  <a:pt x="6783" y="1476"/>
                  <a:pt x="6783" y="1476"/>
                  <a:pt x="6783" y="1476"/>
                </a:cubicBezTo>
                <a:cubicBezTo>
                  <a:pt x="6783" y="1476"/>
                  <a:pt x="6836" y="1476"/>
                  <a:pt x="6849" y="1469"/>
                </a:cubicBezTo>
                <a:cubicBezTo>
                  <a:pt x="6861" y="1462"/>
                  <a:pt x="6869" y="1447"/>
                  <a:pt x="6869" y="1447"/>
                </a:cubicBezTo>
                <a:cubicBezTo>
                  <a:pt x="6830" y="1442"/>
                  <a:pt x="6830" y="1442"/>
                  <a:pt x="6830" y="1442"/>
                </a:cubicBezTo>
                <a:cubicBezTo>
                  <a:pt x="6848" y="1439"/>
                  <a:pt x="6848" y="1439"/>
                  <a:pt x="6848" y="1439"/>
                </a:cubicBezTo>
                <a:cubicBezTo>
                  <a:pt x="6844" y="1429"/>
                  <a:pt x="6844" y="1429"/>
                  <a:pt x="6844" y="1429"/>
                </a:cubicBezTo>
                <a:cubicBezTo>
                  <a:pt x="6844" y="1429"/>
                  <a:pt x="6858" y="1416"/>
                  <a:pt x="6865" y="1415"/>
                </a:cubicBezTo>
                <a:cubicBezTo>
                  <a:pt x="6872" y="1414"/>
                  <a:pt x="6883" y="1403"/>
                  <a:pt x="6884" y="1383"/>
                </a:cubicBezTo>
                <a:cubicBezTo>
                  <a:pt x="6885" y="1362"/>
                  <a:pt x="6836" y="1363"/>
                  <a:pt x="6836" y="1363"/>
                </a:cubicBezTo>
                <a:cubicBezTo>
                  <a:pt x="6836" y="1363"/>
                  <a:pt x="6831" y="1377"/>
                  <a:pt x="6821" y="1370"/>
                </a:cubicBezTo>
                <a:cubicBezTo>
                  <a:pt x="6811" y="1362"/>
                  <a:pt x="6831" y="1355"/>
                  <a:pt x="6830" y="1346"/>
                </a:cubicBezTo>
                <a:cubicBezTo>
                  <a:pt x="6829" y="1337"/>
                  <a:pt x="6798" y="1332"/>
                  <a:pt x="6798" y="1327"/>
                </a:cubicBezTo>
                <a:cubicBezTo>
                  <a:pt x="6798" y="1322"/>
                  <a:pt x="6820" y="1325"/>
                  <a:pt x="6820" y="1325"/>
                </a:cubicBezTo>
                <a:cubicBezTo>
                  <a:pt x="6811" y="1317"/>
                  <a:pt x="6811" y="1317"/>
                  <a:pt x="6811" y="1317"/>
                </a:cubicBezTo>
                <a:cubicBezTo>
                  <a:pt x="6811" y="1317"/>
                  <a:pt x="6802" y="1296"/>
                  <a:pt x="6798" y="1289"/>
                </a:cubicBezTo>
                <a:cubicBezTo>
                  <a:pt x="6794" y="1282"/>
                  <a:pt x="6781" y="1282"/>
                  <a:pt x="6781" y="1282"/>
                </a:cubicBezTo>
                <a:cubicBezTo>
                  <a:pt x="6781" y="1282"/>
                  <a:pt x="6773" y="1273"/>
                  <a:pt x="6765" y="1267"/>
                </a:cubicBezTo>
                <a:cubicBezTo>
                  <a:pt x="6757" y="1261"/>
                  <a:pt x="6763" y="1229"/>
                  <a:pt x="6763" y="1229"/>
                </a:cubicBezTo>
                <a:cubicBezTo>
                  <a:pt x="6755" y="1229"/>
                  <a:pt x="6755" y="1229"/>
                  <a:pt x="6755" y="1229"/>
                </a:cubicBezTo>
                <a:cubicBezTo>
                  <a:pt x="6755" y="1229"/>
                  <a:pt x="6754" y="1223"/>
                  <a:pt x="6740" y="1213"/>
                </a:cubicBezTo>
                <a:cubicBezTo>
                  <a:pt x="6725" y="1203"/>
                  <a:pt x="6706" y="1213"/>
                  <a:pt x="6698" y="1214"/>
                </a:cubicBezTo>
                <a:cubicBezTo>
                  <a:pt x="6690" y="1215"/>
                  <a:pt x="6681" y="1203"/>
                  <a:pt x="6681" y="1203"/>
                </a:cubicBezTo>
                <a:cubicBezTo>
                  <a:pt x="6681" y="1203"/>
                  <a:pt x="6695" y="1208"/>
                  <a:pt x="6699" y="1207"/>
                </a:cubicBezTo>
                <a:cubicBezTo>
                  <a:pt x="6703" y="1206"/>
                  <a:pt x="6721" y="1202"/>
                  <a:pt x="6722" y="1196"/>
                </a:cubicBezTo>
                <a:cubicBezTo>
                  <a:pt x="6723" y="1191"/>
                  <a:pt x="6704" y="1190"/>
                  <a:pt x="6704" y="1190"/>
                </a:cubicBezTo>
                <a:cubicBezTo>
                  <a:pt x="6720" y="1186"/>
                  <a:pt x="6720" y="1186"/>
                  <a:pt x="6720" y="1186"/>
                </a:cubicBezTo>
                <a:cubicBezTo>
                  <a:pt x="6720" y="1186"/>
                  <a:pt x="6729" y="1179"/>
                  <a:pt x="6735" y="1174"/>
                </a:cubicBezTo>
                <a:cubicBezTo>
                  <a:pt x="6740" y="1169"/>
                  <a:pt x="6751" y="1145"/>
                  <a:pt x="6751" y="1145"/>
                </a:cubicBezTo>
                <a:cubicBezTo>
                  <a:pt x="6751" y="1145"/>
                  <a:pt x="6766" y="1136"/>
                  <a:pt x="6766" y="1129"/>
                </a:cubicBezTo>
                <a:cubicBezTo>
                  <a:pt x="6766" y="1122"/>
                  <a:pt x="6712" y="1127"/>
                  <a:pt x="6712" y="1127"/>
                </a:cubicBezTo>
                <a:cubicBezTo>
                  <a:pt x="6712" y="1127"/>
                  <a:pt x="6713" y="1122"/>
                  <a:pt x="6701" y="1122"/>
                </a:cubicBezTo>
                <a:cubicBezTo>
                  <a:pt x="6689" y="1122"/>
                  <a:pt x="6667" y="1130"/>
                  <a:pt x="6667" y="1130"/>
                </a:cubicBezTo>
                <a:cubicBezTo>
                  <a:pt x="6675" y="1123"/>
                  <a:pt x="6675" y="1123"/>
                  <a:pt x="6675" y="1123"/>
                </a:cubicBezTo>
                <a:cubicBezTo>
                  <a:pt x="6669" y="1115"/>
                  <a:pt x="6669" y="1115"/>
                  <a:pt x="6669" y="1115"/>
                </a:cubicBezTo>
                <a:cubicBezTo>
                  <a:pt x="6681" y="1113"/>
                  <a:pt x="6681" y="1113"/>
                  <a:pt x="6681" y="1113"/>
                </a:cubicBezTo>
                <a:cubicBezTo>
                  <a:pt x="6702" y="1100"/>
                  <a:pt x="6702" y="1100"/>
                  <a:pt x="6702" y="1100"/>
                </a:cubicBezTo>
                <a:cubicBezTo>
                  <a:pt x="6702" y="1100"/>
                  <a:pt x="6713" y="1091"/>
                  <a:pt x="6714" y="1080"/>
                </a:cubicBezTo>
                <a:cubicBezTo>
                  <a:pt x="6715" y="1073"/>
                  <a:pt x="6701" y="1075"/>
                  <a:pt x="6693" y="1076"/>
                </a:cubicBezTo>
                <a:cubicBezTo>
                  <a:pt x="6685" y="1077"/>
                  <a:pt x="6673" y="1083"/>
                  <a:pt x="6665" y="1083"/>
                </a:cubicBezTo>
                <a:cubicBezTo>
                  <a:pt x="6657" y="1083"/>
                  <a:pt x="6650" y="1074"/>
                  <a:pt x="6643" y="1078"/>
                </a:cubicBezTo>
                <a:cubicBezTo>
                  <a:pt x="6636" y="1082"/>
                  <a:pt x="6643" y="1092"/>
                  <a:pt x="6643" y="1092"/>
                </a:cubicBezTo>
                <a:cubicBezTo>
                  <a:pt x="6643" y="1092"/>
                  <a:pt x="6636" y="1093"/>
                  <a:pt x="6631" y="1097"/>
                </a:cubicBezTo>
                <a:cubicBezTo>
                  <a:pt x="6626" y="1101"/>
                  <a:pt x="6634" y="1116"/>
                  <a:pt x="6634" y="1116"/>
                </a:cubicBezTo>
                <a:cubicBezTo>
                  <a:pt x="6605" y="1119"/>
                  <a:pt x="6605" y="1119"/>
                  <a:pt x="6605" y="1119"/>
                </a:cubicBezTo>
                <a:cubicBezTo>
                  <a:pt x="6605" y="1125"/>
                  <a:pt x="6605" y="1125"/>
                  <a:pt x="6605" y="1125"/>
                </a:cubicBezTo>
                <a:cubicBezTo>
                  <a:pt x="6611" y="1130"/>
                  <a:pt x="6611" y="1130"/>
                  <a:pt x="6611" y="1130"/>
                </a:cubicBezTo>
                <a:lnTo>
                  <a:pt x="6620" y="1148"/>
                </a:lnTo>
                <a:close/>
                <a:moveTo>
                  <a:pt x="7501" y="1151"/>
                </a:moveTo>
                <a:cubicBezTo>
                  <a:pt x="7497" y="1138"/>
                  <a:pt x="7497" y="1138"/>
                  <a:pt x="7497" y="1138"/>
                </a:cubicBezTo>
                <a:cubicBezTo>
                  <a:pt x="7497" y="1138"/>
                  <a:pt x="7471" y="1172"/>
                  <a:pt x="7471" y="1178"/>
                </a:cubicBezTo>
                <a:cubicBezTo>
                  <a:pt x="7471" y="1183"/>
                  <a:pt x="7470" y="1196"/>
                  <a:pt x="7470" y="1196"/>
                </a:cubicBezTo>
                <a:cubicBezTo>
                  <a:pt x="7478" y="1196"/>
                  <a:pt x="7487" y="1165"/>
                  <a:pt x="7487" y="1165"/>
                </a:cubicBezTo>
                <a:lnTo>
                  <a:pt x="7501" y="1151"/>
                </a:lnTo>
                <a:close/>
                <a:moveTo>
                  <a:pt x="7878" y="2209"/>
                </a:moveTo>
                <a:cubicBezTo>
                  <a:pt x="7872" y="2204"/>
                  <a:pt x="7872" y="2204"/>
                  <a:pt x="7872" y="2204"/>
                </a:cubicBezTo>
                <a:cubicBezTo>
                  <a:pt x="7866" y="2210"/>
                  <a:pt x="7866" y="2210"/>
                  <a:pt x="7866" y="2210"/>
                </a:cubicBezTo>
                <a:lnTo>
                  <a:pt x="7878" y="2209"/>
                </a:lnTo>
                <a:close/>
                <a:moveTo>
                  <a:pt x="7533" y="1130"/>
                </a:moveTo>
                <a:cubicBezTo>
                  <a:pt x="7530" y="1141"/>
                  <a:pt x="7542" y="1164"/>
                  <a:pt x="7542" y="1164"/>
                </a:cubicBezTo>
                <a:cubicBezTo>
                  <a:pt x="7550" y="1147"/>
                  <a:pt x="7550" y="1147"/>
                  <a:pt x="7550" y="1147"/>
                </a:cubicBezTo>
                <a:cubicBezTo>
                  <a:pt x="7550" y="1147"/>
                  <a:pt x="7556" y="1150"/>
                  <a:pt x="7561" y="1141"/>
                </a:cubicBezTo>
                <a:cubicBezTo>
                  <a:pt x="7567" y="1133"/>
                  <a:pt x="7561" y="1124"/>
                  <a:pt x="7561" y="1124"/>
                </a:cubicBezTo>
                <a:cubicBezTo>
                  <a:pt x="7573" y="1112"/>
                  <a:pt x="7573" y="1112"/>
                  <a:pt x="7573" y="1112"/>
                </a:cubicBezTo>
                <a:cubicBezTo>
                  <a:pt x="7573" y="1112"/>
                  <a:pt x="7536" y="1119"/>
                  <a:pt x="7533" y="1130"/>
                </a:cubicBezTo>
                <a:close/>
                <a:moveTo>
                  <a:pt x="7679" y="1081"/>
                </a:moveTo>
                <a:cubicBezTo>
                  <a:pt x="7672" y="1083"/>
                  <a:pt x="7681" y="1100"/>
                  <a:pt x="7681" y="1100"/>
                </a:cubicBezTo>
                <a:cubicBezTo>
                  <a:pt x="7686" y="1113"/>
                  <a:pt x="7686" y="1113"/>
                  <a:pt x="7686" y="1113"/>
                </a:cubicBezTo>
                <a:cubicBezTo>
                  <a:pt x="7686" y="1113"/>
                  <a:pt x="7702" y="1100"/>
                  <a:pt x="7706" y="1100"/>
                </a:cubicBezTo>
                <a:cubicBezTo>
                  <a:pt x="7710" y="1100"/>
                  <a:pt x="7727" y="1086"/>
                  <a:pt x="7727" y="1086"/>
                </a:cubicBezTo>
                <a:cubicBezTo>
                  <a:pt x="7723" y="1075"/>
                  <a:pt x="7723" y="1075"/>
                  <a:pt x="7723" y="1075"/>
                </a:cubicBezTo>
                <a:cubicBezTo>
                  <a:pt x="7699" y="1079"/>
                  <a:pt x="7699" y="1079"/>
                  <a:pt x="7699" y="1079"/>
                </a:cubicBezTo>
                <a:cubicBezTo>
                  <a:pt x="7699" y="1079"/>
                  <a:pt x="7686" y="1078"/>
                  <a:pt x="7679" y="1081"/>
                </a:cubicBezTo>
                <a:close/>
                <a:moveTo>
                  <a:pt x="7707" y="1051"/>
                </a:moveTo>
                <a:cubicBezTo>
                  <a:pt x="7694" y="1054"/>
                  <a:pt x="7687" y="1071"/>
                  <a:pt x="7701" y="1071"/>
                </a:cubicBezTo>
                <a:cubicBezTo>
                  <a:pt x="7716" y="1071"/>
                  <a:pt x="7720" y="1049"/>
                  <a:pt x="7707" y="1051"/>
                </a:cubicBezTo>
                <a:close/>
                <a:moveTo>
                  <a:pt x="7317" y="1211"/>
                </a:moveTo>
                <a:cubicBezTo>
                  <a:pt x="7317" y="1211"/>
                  <a:pt x="7309" y="1199"/>
                  <a:pt x="7308" y="1200"/>
                </a:cubicBezTo>
                <a:cubicBezTo>
                  <a:pt x="7307" y="1200"/>
                  <a:pt x="7294" y="1205"/>
                  <a:pt x="7294" y="1210"/>
                </a:cubicBezTo>
                <a:cubicBezTo>
                  <a:pt x="7294" y="1215"/>
                  <a:pt x="7294" y="1219"/>
                  <a:pt x="7294" y="1219"/>
                </a:cubicBezTo>
                <a:cubicBezTo>
                  <a:pt x="7294" y="1219"/>
                  <a:pt x="7285" y="1207"/>
                  <a:pt x="7283" y="1208"/>
                </a:cubicBezTo>
                <a:cubicBezTo>
                  <a:pt x="7281" y="1209"/>
                  <a:pt x="7278" y="1213"/>
                  <a:pt x="7278" y="1213"/>
                </a:cubicBezTo>
                <a:cubicBezTo>
                  <a:pt x="7262" y="1224"/>
                  <a:pt x="7262" y="1224"/>
                  <a:pt x="7262" y="1224"/>
                </a:cubicBezTo>
                <a:cubicBezTo>
                  <a:pt x="7262" y="1224"/>
                  <a:pt x="7271" y="1229"/>
                  <a:pt x="7270" y="1240"/>
                </a:cubicBezTo>
                <a:cubicBezTo>
                  <a:pt x="7269" y="1251"/>
                  <a:pt x="7260" y="1253"/>
                  <a:pt x="7272" y="1254"/>
                </a:cubicBezTo>
                <a:cubicBezTo>
                  <a:pt x="7284" y="1255"/>
                  <a:pt x="7289" y="1253"/>
                  <a:pt x="7289" y="1253"/>
                </a:cubicBezTo>
                <a:cubicBezTo>
                  <a:pt x="7289" y="1253"/>
                  <a:pt x="7297" y="1272"/>
                  <a:pt x="7298" y="1265"/>
                </a:cubicBezTo>
                <a:cubicBezTo>
                  <a:pt x="7300" y="1259"/>
                  <a:pt x="7310" y="1245"/>
                  <a:pt x="7312" y="1244"/>
                </a:cubicBezTo>
                <a:cubicBezTo>
                  <a:pt x="7314" y="1244"/>
                  <a:pt x="7323" y="1244"/>
                  <a:pt x="7315" y="1239"/>
                </a:cubicBezTo>
                <a:cubicBezTo>
                  <a:pt x="7307" y="1234"/>
                  <a:pt x="7300" y="1227"/>
                  <a:pt x="7303" y="1227"/>
                </a:cubicBezTo>
                <a:cubicBezTo>
                  <a:pt x="7306" y="1226"/>
                  <a:pt x="7313" y="1227"/>
                  <a:pt x="7308" y="1224"/>
                </a:cubicBezTo>
                <a:cubicBezTo>
                  <a:pt x="7303" y="1220"/>
                  <a:pt x="7317" y="1211"/>
                  <a:pt x="7317" y="1211"/>
                </a:cubicBezTo>
                <a:close/>
                <a:moveTo>
                  <a:pt x="7266" y="1272"/>
                </a:moveTo>
                <a:cubicBezTo>
                  <a:pt x="7274" y="1270"/>
                  <a:pt x="7285" y="1282"/>
                  <a:pt x="7285" y="1282"/>
                </a:cubicBezTo>
                <a:cubicBezTo>
                  <a:pt x="7285" y="1282"/>
                  <a:pt x="7302" y="1279"/>
                  <a:pt x="7319" y="1275"/>
                </a:cubicBezTo>
                <a:cubicBezTo>
                  <a:pt x="7337" y="1272"/>
                  <a:pt x="7322" y="1260"/>
                  <a:pt x="7322" y="1260"/>
                </a:cubicBezTo>
                <a:cubicBezTo>
                  <a:pt x="7305" y="1266"/>
                  <a:pt x="7305" y="1266"/>
                  <a:pt x="7305" y="1266"/>
                </a:cubicBezTo>
                <a:cubicBezTo>
                  <a:pt x="7305" y="1266"/>
                  <a:pt x="7295" y="1270"/>
                  <a:pt x="7291" y="1269"/>
                </a:cubicBezTo>
                <a:cubicBezTo>
                  <a:pt x="7287" y="1269"/>
                  <a:pt x="7271" y="1262"/>
                  <a:pt x="7266" y="1262"/>
                </a:cubicBezTo>
                <a:cubicBezTo>
                  <a:pt x="7256" y="1262"/>
                  <a:pt x="7258" y="1273"/>
                  <a:pt x="7266" y="1272"/>
                </a:cubicBezTo>
                <a:close/>
                <a:moveTo>
                  <a:pt x="7992" y="2290"/>
                </a:moveTo>
                <a:cubicBezTo>
                  <a:pt x="7985" y="2263"/>
                  <a:pt x="7985" y="2263"/>
                  <a:pt x="7985" y="2263"/>
                </a:cubicBezTo>
                <a:cubicBezTo>
                  <a:pt x="7979" y="2293"/>
                  <a:pt x="7979" y="2293"/>
                  <a:pt x="7979" y="2293"/>
                </a:cubicBezTo>
                <a:lnTo>
                  <a:pt x="7992" y="2290"/>
                </a:lnTo>
                <a:close/>
                <a:moveTo>
                  <a:pt x="7994" y="2200"/>
                </a:moveTo>
                <a:cubicBezTo>
                  <a:pt x="7978" y="2209"/>
                  <a:pt x="7978" y="2209"/>
                  <a:pt x="7978" y="2209"/>
                </a:cubicBezTo>
                <a:cubicBezTo>
                  <a:pt x="7977" y="2224"/>
                  <a:pt x="7977" y="2224"/>
                  <a:pt x="7977" y="2224"/>
                </a:cubicBezTo>
                <a:cubicBezTo>
                  <a:pt x="8002" y="2205"/>
                  <a:pt x="8002" y="2205"/>
                  <a:pt x="8002" y="2205"/>
                </a:cubicBezTo>
                <a:lnTo>
                  <a:pt x="7994" y="2200"/>
                </a:lnTo>
                <a:close/>
                <a:moveTo>
                  <a:pt x="8029" y="2232"/>
                </a:moveTo>
                <a:cubicBezTo>
                  <a:pt x="8025" y="2225"/>
                  <a:pt x="8004" y="2253"/>
                  <a:pt x="8010" y="2263"/>
                </a:cubicBezTo>
                <a:cubicBezTo>
                  <a:pt x="8015" y="2272"/>
                  <a:pt x="8033" y="2239"/>
                  <a:pt x="8029" y="2232"/>
                </a:cubicBezTo>
                <a:close/>
                <a:moveTo>
                  <a:pt x="8872" y="524"/>
                </a:moveTo>
                <a:cubicBezTo>
                  <a:pt x="8867" y="532"/>
                  <a:pt x="8932" y="566"/>
                  <a:pt x="8938" y="550"/>
                </a:cubicBezTo>
                <a:cubicBezTo>
                  <a:pt x="8944" y="534"/>
                  <a:pt x="8878" y="514"/>
                  <a:pt x="8872" y="524"/>
                </a:cubicBezTo>
                <a:close/>
                <a:moveTo>
                  <a:pt x="7220" y="1252"/>
                </a:moveTo>
                <a:cubicBezTo>
                  <a:pt x="7226" y="1252"/>
                  <a:pt x="7236" y="1262"/>
                  <a:pt x="7236" y="1262"/>
                </a:cubicBezTo>
                <a:cubicBezTo>
                  <a:pt x="7242" y="1244"/>
                  <a:pt x="7242" y="1244"/>
                  <a:pt x="7242" y="1244"/>
                </a:cubicBezTo>
                <a:cubicBezTo>
                  <a:pt x="7230" y="1230"/>
                  <a:pt x="7230" y="1230"/>
                  <a:pt x="7230" y="1230"/>
                </a:cubicBezTo>
                <a:cubicBezTo>
                  <a:pt x="7218" y="1228"/>
                  <a:pt x="7218" y="1228"/>
                  <a:pt x="7218" y="1228"/>
                </a:cubicBezTo>
                <a:lnTo>
                  <a:pt x="7220" y="1252"/>
                </a:lnTo>
                <a:close/>
                <a:moveTo>
                  <a:pt x="8643" y="464"/>
                </a:moveTo>
                <a:cubicBezTo>
                  <a:pt x="8656" y="464"/>
                  <a:pt x="8673" y="467"/>
                  <a:pt x="8684" y="473"/>
                </a:cubicBezTo>
                <a:cubicBezTo>
                  <a:pt x="8694" y="479"/>
                  <a:pt x="8693" y="496"/>
                  <a:pt x="8696" y="497"/>
                </a:cubicBezTo>
                <a:cubicBezTo>
                  <a:pt x="8699" y="499"/>
                  <a:pt x="8748" y="506"/>
                  <a:pt x="8748" y="506"/>
                </a:cubicBezTo>
                <a:cubicBezTo>
                  <a:pt x="8822" y="502"/>
                  <a:pt x="8822" y="502"/>
                  <a:pt x="8822" y="502"/>
                </a:cubicBezTo>
                <a:cubicBezTo>
                  <a:pt x="8822" y="502"/>
                  <a:pt x="8762" y="496"/>
                  <a:pt x="8746" y="470"/>
                </a:cubicBezTo>
                <a:cubicBezTo>
                  <a:pt x="8730" y="444"/>
                  <a:pt x="8714" y="444"/>
                  <a:pt x="8730" y="420"/>
                </a:cubicBezTo>
                <a:cubicBezTo>
                  <a:pt x="8746" y="396"/>
                  <a:pt x="8727" y="394"/>
                  <a:pt x="8727" y="394"/>
                </a:cubicBezTo>
                <a:cubicBezTo>
                  <a:pt x="8754" y="390"/>
                  <a:pt x="8754" y="390"/>
                  <a:pt x="8754" y="390"/>
                </a:cubicBezTo>
                <a:cubicBezTo>
                  <a:pt x="8743" y="378"/>
                  <a:pt x="8743" y="378"/>
                  <a:pt x="8743" y="378"/>
                </a:cubicBezTo>
                <a:cubicBezTo>
                  <a:pt x="8766" y="381"/>
                  <a:pt x="8766" y="381"/>
                  <a:pt x="8766" y="381"/>
                </a:cubicBezTo>
                <a:cubicBezTo>
                  <a:pt x="8753" y="373"/>
                  <a:pt x="8753" y="373"/>
                  <a:pt x="8753" y="373"/>
                </a:cubicBezTo>
                <a:cubicBezTo>
                  <a:pt x="8769" y="375"/>
                  <a:pt x="8769" y="375"/>
                  <a:pt x="8769" y="375"/>
                </a:cubicBezTo>
                <a:cubicBezTo>
                  <a:pt x="8773" y="365"/>
                  <a:pt x="8773" y="365"/>
                  <a:pt x="8773" y="365"/>
                </a:cubicBezTo>
                <a:cubicBezTo>
                  <a:pt x="8759" y="358"/>
                  <a:pt x="8759" y="358"/>
                  <a:pt x="8759" y="358"/>
                </a:cubicBezTo>
                <a:cubicBezTo>
                  <a:pt x="8759" y="358"/>
                  <a:pt x="8786" y="362"/>
                  <a:pt x="8790" y="358"/>
                </a:cubicBezTo>
                <a:cubicBezTo>
                  <a:pt x="8794" y="354"/>
                  <a:pt x="8779" y="344"/>
                  <a:pt x="8779" y="344"/>
                </a:cubicBezTo>
                <a:cubicBezTo>
                  <a:pt x="8801" y="346"/>
                  <a:pt x="8801" y="346"/>
                  <a:pt x="8801" y="346"/>
                </a:cubicBezTo>
                <a:cubicBezTo>
                  <a:pt x="8799" y="327"/>
                  <a:pt x="8799" y="327"/>
                  <a:pt x="8799" y="327"/>
                </a:cubicBezTo>
                <a:cubicBezTo>
                  <a:pt x="8799" y="327"/>
                  <a:pt x="8813" y="338"/>
                  <a:pt x="8831" y="330"/>
                </a:cubicBezTo>
                <a:cubicBezTo>
                  <a:pt x="8850" y="323"/>
                  <a:pt x="8862" y="309"/>
                  <a:pt x="8862" y="309"/>
                </a:cubicBezTo>
                <a:cubicBezTo>
                  <a:pt x="8862" y="309"/>
                  <a:pt x="9007" y="288"/>
                  <a:pt x="9028" y="279"/>
                </a:cubicBezTo>
                <a:cubicBezTo>
                  <a:pt x="9050" y="269"/>
                  <a:pt x="9071" y="254"/>
                  <a:pt x="9038" y="243"/>
                </a:cubicBezTo>
                <a:cubicBezTo>
                  <a:pt x="9005" y="231"/>
                  <a:pt x="8971" y="247"/>
                  <a:pt x="8956" y="253"/>
                </a:cubicBezTo>
                <a:cubicBezTo>
                  <a:pt x="8942" y="259"/>
                  <a:pt x="8898" y="274"/>
                  <a:pt x="8878" y="271"/>
                </a:cubicBezTo>
                <a:cubicBezTo>
                  <a:pt x="8857" y="269"/>
                  <a:pt x="8826" y="265"/>
                  <a:pt x="8826" y="265"/>
                </a:cubicBezTo>
                <a:cubicBezTo>
                  <a:pt x="8815" y="282"/>
                  <a:pt x="8815" y="282"/>
                  <a:pt x="8815" y="282"/>
                </a:cubicBezTo>
                <a:cubicBezTo>
                  <a:pt x="8798" y="273"/>
                  <a:pt x="8798" y="273"/>
                  <a:pt x="8798" y="273"/>
                </a:cubicBezTo>
                <a:cubicBezTo>
                  <a:pt x="8763" y="287"/>
                  <a:pt x="8763" y="287"/>
                  <a:pt x="8763" y="287"/>
                </a:cubicBezTo>
                <a:cubicBezTo>
                  <a:pt x="8744" y="286"/>
                  <a:pt x="8744" y="286"/>
                  <a:pt x="8744" y="286"/>
                </a:cubicBezTo>
                <a:cubicBezTo>
                  <a:pt x="8725" y="301"/>
                  <a:pt x="8725" y="301"/>
                  <a:pt x="8725" y="301"/>
                </a:cubicBezTo>
                <a:cubicBezTo>
                  <a:pt x="8739" y="306"/>
                  <a:pt x="8739" y="306"/>
                  <a:pt x="8739" y="306"/>
                </a:cubicBezTo>
                <a:cubicBezTo>
                  <a:pt x="8706" y="307"/>
                  <a:pt x="8706" y="307"/>
                  <a:pt x="8706" y="307"/>
                </a:cubicBezTo>
                <a:cubicBezTo>
                  <a:pt x="8687" y="313"/>
                  <a:pt x="8687" y="313"/>
                  <a:pt x="8687" y="313"/>
                </a:cubicBezTo>
                <a:cubicBezTo>
                  <a:pt x="8688" y="322"/>
                  <a:pt x="8688" y="322"/>
                  <a:pt x="8688" y="322"/>
                </a:cubicBezTo>
                <a:cubicBezTo>
                  <a:pt x="8705" y="313"/>
                  <a:pt x="8705" y="313"/>
                  <a:pt x="8705" y="313"/>
                </a:cubicBezTo>
                <a:cubicBezTo>
                  <a:pt x="8706" y="322"/>
                  <a:pt x="8706" y="322"/>
                  <a:pt x="8706" y="322"/>
                </a:cubicBezTo>
                <a:cubicBezTo>
                  <a:pt x="8725" y="324"/>
                  <a:pt x="8725" y="324"/>
                  <a:pt x="8725" y="324"/>
                </a:cubicBezTo>
                <a:cubicBezTo>
                  <a:pt x="8719" y="332"/>
                  <a:pt x="8719" y="332"/>
                  <a:pt x="8719" y="332"/>
                </a:cubicBezTo>
                <a:cubicBezTo>
                  <a:pt x="8693" y="332"/>
                  <a:pt x="8693" y="332"/>
                  <a:pt x="8693" y="332"/>
                </a:cubicBezTo>
                <a:cubicBezTo>
                  <a:pt x="8689" y="341"/>
                  <a:pt x="8689" y="341"/>
                  <a:pt x="8689" y="341"/>
                </a:cubicBezTo>
                <a:cubicBezTo>
                  <a:pt x="8707" y="344"/>
                  <a:pt x="8707" y="344"/>
                  <a:pt x="8707" y="344"/>
                </a:cubicBezTo>
                <a:cubicBezTo>
                  <a:pt x="8676" y="346"/>
                  <a:pt x="8676" y="346"/>
                  <a:pt x="8676" y="346"/>
                </a:cubicBezTo>
                <a:cubicBezTo>
                  <a:pt x="8698" y="352"/>
                  <a:pt x="8698" y="352"/>
                  <a:pt x="8698" y="352"/>
                </a:cubicBezTo>
                <a:cubicBezTo>
                  <a:pt x="8669" y="354"/>
                  <a:pt x="8669" y="354"/>
                  <a:pt x="8669" y="354"/>
                </a:cubicBezTo>
                <a:cubicBezTo>
                  <a:pt x="8667" y="368"/>
                  <a:pt x="8667" y="368"/>
                  <a:pt x="8667" y="368"/>
                </a:cubicBezTo>
                <a:cubicBezTo>
                  <a:pt x="8647" y="375"/>
                  <a:pt x="8647" y="375"/>
                  <a:pt x="8647" y="375"/>
                </a:cubicBezTo>
                <a:cubicBezTo>
                  <a:pt x="8654" y="385"/>
                  <a:pt x="8654" y="385"/>
                  <a:pt x="8654" y="385"/>
                </a:cubicBezTo>
                <a:cubicBezTo>
                  <a:pt x="8681" y="373"/>
                  <a:pt x="8681" y="373"/>
                  <a:pt x="8681" y="373"/>
                </a:cubicBezTo>
                <a:cubicBezTo>
                  <a:pt x="8670" y="391"/>
                  <a:pt x="8670" y="391"/>
                  <a:pt x="8670" y="391"/>
                </a:cubicBezTo>
                <a:cubicBezTo>
                  <a:pt x="8670" y="391"/>
                  <a:pt x="8649" y="386"/>
                  <a:pt x="8641" y="393"/>
                </a:cubicBezTo>
                <a:cubicBezTo>
                  <a:pt x="8634" y="400"/>
                  <a:pt x="8640" y="408"/>
                  <a:pt x="8640" y="408"/>
                </a:cubicBezTo>
                <a:cubicBezTo>
                  <a:pt x="8610" y="413"/>
                  <a:pt x="8610" y="413"/>
                  <a:pt x="8610" y="413"/>
                </a:cubicBezTo>
                <a:cubicBezTo>
                  <a:pt x="8619" y="425"/>
                  <a:pt x="8619" y="425"/>
                  <a:pt x="8619" y="425"/>
                </a:cubicBezTo>
                <a:cubicBezTo>
                  <a:pt x="8638" y="416"/>
                  <a:pt x="8638" y="416"/>
                  <a:pt x="8638" y="416"/>
                </a:cubicBezTo>
                <a:cubicBezTo>
                  <a:pt x="8628" y="432"/>
                  <a:pt x="8628" y="432"/>
                  <a:pt x="8628" y="432"/>
                </a:cubicBezTo>
                <a:cubicBezTo>
                  <a:pt x="8628" y="432"/>
                  <a:pt x="8600" y="438"/>
                  <a:pt x="8602" y="449"/>
                </a:cubicBezTo>
                <a:cubicBezTo>
                  <a:pt x="8604" y="460"/>
                  <a:pt x="8631" y="464"/>
                  <a:pt x="8643" y="464"/>
                </a:cubicBezTo>
                <a:close/>
                <a:moveTo>
                  <a:pt x="7441" y="599"/>
                </a:moveTo>
                <a:cubicBezTo>
                  <a:pt x="7450" y="594"/>
                  <a:pt x="7465" y="591"/>
                  <a:pt x="7446" y="587"/>
                </a:cubicBezTo>
                <a:cubicBezTo>
                  <a:pt x="7427" y="584"/>
                  <a:pt x="7418" y="595"/>
                  <a:pt x="7418" y="595"/>
                </a:cubicBezTo>
                <a:cubicBezTo>
                  <a:pt x="7424" y="602"/>
                  <a:pt x="7424" y="602"/>
                  <a:pt x="7424" y="602"/>
                </a:cubicBezTo>
                <a:lnTo>
                  <a:pt x="7441" y="599"/>
                </a:lnTo>
                <a:close/>
                <a:moveTo>
                  <a:pt x="7430" y="571"/>
                </a:moveTo>
                <a:cubicBezTo>
                  <a:pt x="7411" y="566"/>
                  <a:pt x="7401" y="583"/>
                  <a:pt x="7401" y="583"/>
                </a:cubicBezTo>
                <a:cubicBezTo>
                  <a:pt x="7417" y="587"/>
                  <a:pt x="7417" y="587"/>
                  <a:pt x="7417" y="587"/>
                </a:cubicBezTo>
                <a:cubicBezTo>
                  <a:pt x="7423" y="583"/>
                  <a:pt x="7449" y="575"/>
                  <a:pt x="7430" y="571"/>
                </a:cubicBezTo>
                <a:close/>
                <a:moveTo>
                  <a:pt x="7410" y="590"/>
                </a:moveTo>
                <a:cubicBezTo>
                  <a:pt x="7395" y="599"/>
                  <a:pt x="7395" y="599"/>
                  <a:pt x="7395" y="599"/>
                </a:cubicBezTo>
                <a:cubicBezTo>
                  <a:pt x="7400" y="612"/>
                  <a:pt x="7400" y="612"/>
                  <a:pt x="7400" y="612"/>
                </a:cubicBezTo>
                <a:cubicBezTo>
                  <a:pt x="7418" y="613"/>
                  <a:pt x="7418" y="613"/>
                  <a:pt x="7418" y="613"/>
                </a:cubicBezTo>
                <a:cubicBezTo>
                  <a:pt x="7414" y="600"/>
                  <a:pt x="7414" y="600"/>
                  <a:pt x="7414" y="600"/>
                </a:cubicBezTo>
                <a:lnTo>
                  <a:pt x="7410" y="590"/>
                </a:lnTo>
                <a:close/>
                <a:moveTo>
                  <a:pt x="7384" y="584"/>
                </a:moveTo>
                <a:cubicBezTo>
                  <a:pt x="7373" y="588"/>
                  <a:pt x="7377" y="605"/>
                  <a:pt x="7377" y="605"/>
                </a:cubicBezTo>
                <a:cubicBezTo>
                  <a:pt x="7389" y="617"/>
                  <a:pt x="7389" y="617"/>
                  <a:pt x="7389" y="617"/>
                </a:cubicBezTo>
                <a:cubicBezTo>
                  <a:pt x="7389" y="617"/>
                  <a:pt x="7395" y="580"/>
                  <a:pt x="7384" y="584"/>
                </a:cubicBezTo>
                <a:close/>
                <a:moveTo>
                  <a:pt x="7463" y="578"/>
                </a:moveTo>
                <a:cubicBezTo>
                  <a:pt x="7479" y="575"/>
                  <a:pt x="7478" y="565"/>
                  <a:pt x="7485" y="565"/>
                </a:cubicBezTo>
                <a:cubicBezTo>
                  <a:pt x="7491" y="565"/>
                  <a:pt x="7485" y="554"/>
                  <a:pt x="7485" y="554"/>
                </a:cubicBezTo>
                <a:cubicBezTo>
                  <a:pt x="7455" y="568"/>
                  <a:pt x="7455" y="568"/>
                  <a:pt x="7455" y="568"/>
                </a:cubicBezTo>
                <a:lnTo>
                  <a:pt x="7463" y="578"/>
                </a:lnTo>
                <a:close/>
                <a:moveTo>
                  <a:pt x="7551" y="538"/>
                </a:moveTo>
                <a:cubicBezTo>
                  <a:pt x="7560" y="535"/>
                  <a:pt x="7573" y="525"/>
                  <a:pt x="7555" y="524"/>
                </a:cubicBezTo>
                <a:cubicBezTo>
                  <a:pt x="7538" y="523"/>
                  <a:pt x="7551" y="538"/>
                  <a:pt x="7551" y="538"/>
                </a:cubicBezTo>
                <a:close/>
                <a:moveTo>
                  <a:pt x="8379" y="1666"/>
                </a:moveTo>
                <a:cubicBezTo>
                  <a:pt x="8379" y="1666"/>
                  <a:pt x="8378" y="1666"/>
                  <a:pt x="8378" y="1666"/>
                </a:cubicBezTo>
                <a:cubicBezTo>
                  <a:pt x="8378" y="1666"/>
                  <a:pt x="8378" y="1666"/>
                  <a:pt x="8378" y="1666"/>
                </a:cubicBezTo>
                <a:cubicBezTo>
                  <a:pt x="8378" y="1666"/>
                  <a:pt x="8379" y="1666"/>
                  <a:pt x="8379" y="1666"/>
                </a:cubicBezTo>
                <a:close/>
                <a:moveTo>
                  <a:pt x="7253" y="188"/>
                </a:moveTo>
                <a:cubicBezTo>
                  <a:pt x="7267" y="198"/>
                  <a:pt x="7288" y="194"/>
                  <a:pt x="7288" y="194"/>
                </a:cubicBezTo>
                <a:cubicBezTo>
                  <a:pt x="7266" y="183"/>
                  <a:pt x="7266" y="183"/>
                  <a:pt x="7266" y="183"/>
                </a:cubicBezTo>
                <a:cubicBezTo>
                  <a:pt x="7233" y="166"/>
                  <a:pt x="7233" y="166"/>
                  <a:pt x="7233" y="166"/>
                </a:cubicBezTo>
                <a:cubicBezTo>
                  <a:pt x="7229" y="179"/>
                  <a:pt x="7239" y="179"/>
                  <a:pt x="7253" y="188"/>
                </a:cubicBezTo>
                <a:close/>
                <a:moveTo>
                  <a:pt x="6729" y="1062"/>
                </a:moveTo>
                <a:cubicBezTo>
                  <a:pt x="6727" y="1072"/>
                  <a:pt x="6727" y="1072"/>
                  <a:pt x="6727" y="1072"/>
                </a:cubicBezTo>
                <a:cubicBezTo>
                  <a:pt x="6736" y="1064"/>
                  <a:pt x="6736" y="1064"/>
                  <a:pt x="6736" y="1064"/>
                </a:cubicBezTo>
                <a:lnTo>
                  <a:pt x="6729" y="1062"/>
                </a:lnTo>
                <a:close/>
                <a:moveTo>
                  <a:pt x="6786" y="1004"/>
                </a:moveTo>
                <a:cubicBezTo>
                  <a:pt x="6790" y="1013"/>
                  <a:pt x="6790" y="1013"/>
                  <a:pt x="6790" y="1013"/>
                </a:cubicBezTo>
                <a:cubicBezTo>
                  <a:pt x="6795" y="1017"/>
                  <a:pt x="6802" y="996"/>
                  <a:pt x="6801" y="992"/>
                </a:cubicBezTo>
                <a:cubicBezTo>
                  <a:pt x="6800" y="988"/>
                  <a:pt x="6791" y="980"/>
                  <a:pt x="6791" y="980"/>
                </a:cubicBezTo>
                <a:cubicBezTo>
                  <a:pt x="6790" y="989"/>
                  <a:pt x="6790" y="989"/>
                  <a:pt x="6790" y="989"/>
                </a:cubicBezTo>
                <a:cubicBezTo>
                  <a:pt x="6790" y="989"/>
                  <a:pt x="6777" y="993"/>
                  <a:pt x="6778" y="997"/>
                </a:cubicBezTo>
                <a:cubicBezTo>
                  <a:pt x="6779" y="1001"/>
                  <a:pt x="6786" y="1004"/>
                  <a:pt x="6786" y="1004"/>
                </a:cubicBezTo>
                <a:close/>
                <a:moveTo>
                  <a:pt x="6721" y="1053"/>
                </a:moveTo>
                <a:cubicBezTo>
                  <a:pt x="6713" y="1046"/>
                  <a:pt x="6712" y="1061"/>
                  <a:pt x="6712" y="1061"/>
                </a:cubicBezTo>
                <a:cubicBezTo>
                  <a:pt x="6719" y="1067"/>
                  <a:pt x="6729" y="1060"/>
                  <a:pt x="6721" y="1053"/>
                </a:cubicBezTo>
                <a:close/>
                <a:moveTo>
                  <a:pt x="6815" y="969"/>
                </a:moveTo>
                <a:cubicBezTo>
                  <a:pt x="6808" y="970"/>
                  <a:pt x="6806" y="979"/>
                  <a:pt x="6806" y="979"/>
                </a:cubicBezTo>
                <a:cubicBezTo>
                  <a:pt x="6817" y="984"/>
                  <a:pt x="6822" y="968"/>
                  <a:pt x="6815" y="969"/>
                </a:cubicBezTo>
                <a:close/>
                <a:moveTo>
                  <a:pt x="7648" y="515"/>
                </a:moveTo>
                <a:cubicBezTo>
                  <a:pt x="7661" y="518"/>
                  <a:pt x="7661" y="518"/>
                  <a:pt x="7661" y="518"/>
                </a:cubicBezTo>
                <a:cubicBezTo>
                  <a:pt x="7669" y="509"/>
                  <a:pt x="7669" y="503"/>
                  <a:pt x="7669" y="503"/>
                </a:cubicBezTo>
                <a:cubicBezTo>
                  <a:pt x="7649" y="505"/>
                  <a:pt x="7649" y="505"/>
                  <a:pt x="7649" y="505"/>
                </a:cubicBezTo>
                <a:lnTo>
                  <a:pt x="7648" y="515"/>
                </a:lnTo>
                <a:close/>
                <a:moveTo>
                  <a:pt x="7854" y="2172"/>
                </a:moveTo>
                <a:cubicBezTo>
                  <a:pt x="7849" y="2177"/>
                  <a:pt x="7852" y="2183"/>
                  <a:pt x="7857" y="2182"/>
                </a:cubicBezTo>
                <a:cubicBezTo>
                  <a:pt x="7866" y="2180"/>
                  <a:pt x="7859" y="2167"/>
                  <a:pt x="7854" y="2172"/>
                </a:cubicBezTo>
                <a:close/>
                <a:moveTo>
                  <a:pt x="7358" y="610"/>
                </a:moveTo>
                <a:cubicBezTo>
                  <a:pt x="7342" y="610"/>
                  <a:pt x="7317" y="629"/>
                  <a:pt x="7323" y="633"/>
                </a:cubicBezTo>
                <a:cubicBezTo>
                  <a:pt x="7328" y="636"/>
                  <a:pt x="7353" y="621"/>
                  <a:pt x="7353" y="621"/>
                </a:cubicBezTo>
                <a:cubicBezTo>
                  <a:pt x="7376" y="617"/>
                  <a:pt x="7376" y="617"/>
                  <a:pt x="7376" y="617"/>
                </a:cubicBezTo>
                <a:cubicBezTo>
                  <a:pt x="7373" y="617"/>
                  <a:pt x="7374" y="610"/>
                  <a:pt x="7358" y="610"/>
                </a:cubicBezTo>
                <a:close/>
                <a:moveTo>
                  <a:pt x="7687" y="2158"/>
                </a:moveTo>
                <a:cubicBezTo>
                  <a:pt x="7678" y="2165"/>
                  <a:pt x="7698" y="2171"/>
                  <a:pt x="7698" y="2171"/>
                </a:cubicBezTo>
                <a:cubicBezTo>
                  <a:pt x="7704" y="2167"/>
                  <a:pt x="7696" y="2151"/>
                  <a:pt x="7687" y="2158"/>
                </a:cubicBezTo>
                <a:close/>
                <a:moveTo>
                  <a:pt x="7673" y="2139"/>
                </a:moveTo>
                <a:cubicBezTo>
                  <a:pt x="7698" y="2146"/>
                  <a:pt x="7698" y="2146"/>
                  <a:pt x="7698" y="2146"/>
                </a:cubicBezTo>
                <a:cubicBezTo>
                  <a:pt x="7687" y="2124"/>
                  <a:pt x="7687" y="2124"/>
                  <a:pt x="7687" y="2124"/>
                </a:cubicBezTo>
                <a:lnTo>
                  <a:pt x="7673" y="2139"/>
                </a:lnTo>
                <a:close/>
                <a:moveTo>
                  <a:pt x="7811" y="2183"/>
                </a:moveTo>
                <a:cubicBezTo>
                  <a:pt x="7820" y="2179"/>
                  <a:pt x="7820" y="2179"/>
                  <a:pt x="7820" y="2179"/>
                </a:cubicBezTo>
                <a:cubicBezTo>
                  <a:pt x="7820" y="2179"/>
                  <a:pt x="7809" y="2172"/>
                  <a:pt x="7800" y="2163"/>
                </a:cubicBezTo>
                <a:cubicBezTo>
                  <a:pt x="7791" y="2154"/>
                  <a:pt x="7747" y="2137"/>
                  <a:pt x="7747" y="2137"/>
                </a:cubicBezTo>
                <a:cubicBezTo>
                  <a:pt x="7733" y="2143"/>
                  <a:pt x="7733" y="2143"/>
                  <a:pt x="7733" y="2143"/>
                </a:cubicBezTo>
                <a:cubicBezTo>
                  <a:pt x="7726" y="2143"/>
                  <a:pt x="7726" y="2143"/>
                  <a:pt x="7726" y="2143"/>
                </a:cubicBezTo>
                <a:cubicBezTo>
                  <a:pt x="7715" y="2158"/>
                  <a:pt x="7715" y="2158"/>
                  <a:pt x="7715" y="2158"/>
                </a:cubicBezTo>
                <a:cubicBezTo>
                  <a:pt x="7734" y="2175"/>
                  <a:pt x="7734" y="2175"/>
                  <a:pt x="7734" y="2175"/>
                </a:cubicBezTo>
                <a:cubicBezTo>
                  <a:pt x="7734" y="2175"/>
                  <a:pt x="7731" y="2192"/>
                  <a:pt x="7731" y="2202"/>
                </a:cubicBezTo>
                <a:cubicBezTo>
                  <a:pt x="7731" y="2212"/>
                  <a:pt x="7746" y="2218"/>
                  <a:pt x="7749" y="2211"/>
                </a:cubicBezTo>
                <a:cubicBezTo>
                  <a:pt x="7752" y="2204"/>
                  <a:pt x="7761" y="2205"/>
                  <a:pt x="7761" y="2205"/>
                </a:cubicBezTo>
                <a:cubicBezTo>
                  <a:pt x="7775" y="2231"/>
                  <a:pt x="7775" y="2231"/>
                  <a:pt x="7775" y="2231"/>
                </a:cubicBezTo>
                <a:cubicBezTo>
                  <a:pt x="7781" y="2213"/>
                  <a:pt x="7781" y="2213"/>
                  <a:pt x="7781" y="2213"/>
                </a:cubicBezTo>
                <a:cubicBezTo>
                  <a:pt x="7790" y="2226"/>
                  <a:pt x="7790" y="2226"/>
                  <a:pt x="7790" y="2226"/>
                </a:cubicBezTo>
                <a:cubicBezTo>
                  <a:pt x="7806" y="2232"/>
                  <a:pt x="7806" y="2232"/>
                  <a:pt x="7806" y="2232"/>
                </a:cubicBezTo>
                <a:cubicBezTo>
                  <a:pt x="7797" y="2221"/>
                  <a:pt x="7797" y="2221"/>
                  <a:pt x="7797" y="2221"/>
                </a:cubicBezTo>
                <a:cubicBezTo>
                  <a:pt x="7801" y="2216"/>
                  <a:pt x="7801" y="2216"/>
                  <a:pt x="7801" y="2216"/>
                </a:cubicBezTo>
                <a:cubicBezTo>
                  <a:pt x="7799" y="2201"/>
                  <a:pt x="7799" y="2201"/>
                  <a:pt x="7799" y="2201"/>
                </a:cubicBezTo>
                <a:cubicBezTo>
                  <a:pt x="7799" y="2201"/>
                  <a:pt x="7782" y="2180"/>
                  <a:pt x="7785" y="2172"/>
                </a:cubicBezTo>
                <a:cubicBezTo>
                  <a:pt x="7788" y="2164"/>
                  <a:pt x="7811" y="2183"/>
                  <a:pt x="7811" y="2183"/>
                </a:cubicBezTo>
                <a:close/>
                <a:moveTo>
                  <a:pt x="7854" y="2097"/>
                </a:moveTo>
                <a:cubicBezTo>
                  <a:pt x="7854" y="2097"/>
                  <a:pt x="7848" y="2109"/>
                  <a:pt x="7864" y="2109"/>
                </a:cubicBezTo>
                <a:lnTo>
                  <a:pt x="7854" y="2097"/>
                </a:lnTo>
                <a:close/>
                <a:moveTo>
                  <a:pt x="7795" y="2239"/>
                </a:moveTo>
                <a:cubicBezTo>
                  <a:pt x="7789" y="2241"/>
                  <a:pt x="7794" y="2258"/>
                  <a:pt x="7801" y="2252"/>
                </a:cubicBezTo>
                <a:cubicBezTo>
                  <a:pt x="7808" y="2246"/>
                  <a:pt x="7802" y="2237"/>
                  <a:pt x="7795" y="2239"/>
                </a:cubicBezTo>
                <a:close/>
                <a:moveTo>
                  <a:pt x="7405" y="2250"/>
                </a:moveTo>
                <a:cubicBezTo>
                  <a:pt x="7397" y="2264"/>
                  <a:pt x="7420" y="2269"/>
                  <a:pt x="7420" y="2269"/>
                </a:cubicBezTo>
                <a:cubicBezTo>
                  <a:pt x="7431" y="2256"/>
                  <a:pt x="7413" y="2236"/>
                  <a:pt x="7405" y="2250"/>
                </a:cubicBezTo>
                <a:close/>
                <a:moveTo>
                  <a:pt x="6849" y="2093"/>
                </a:moveTo>
                <a:cubicBezTo>
                  <a:pt x="6844" y="2083"/>
                  <a:pt x="6835" y="2105"/>
                  <a:pt x="6835" y="2105"/>
                </a:cubicBezTo>
                <a:cubicBezTo>
                  <a:pt x="6844" y="2114"/>
                  <a:pt x="6854" y="2103"/>
                  <a:pt x="6849" y="2093"/>
                </a:cubicBezTo>
                <a:close/>
                <a:moveTo>
                  <a:pt x="6970" y="2057"/>
                </a:moveTo>
                <a:cubicBezTo>
                  <a:pt x="6979" y="2052"/>
                  <a:pt x="6958" y="2035"/>
                  <a:pt x="6948" y="2042"/>
                </a:cubicBezTo>
                <a:cubicBezTo>
                  <a:pt x="6948" y="2042"/>
                  <a:pt x="6961" y="2062"/>
                  <a:pt x="6970" y="2057"/>
                </a:cubicBezTo>
                <a:close/>
                <a:moveTo>
                  <a:pt x="7197" y="1887"/>
                </a:moveTo>
                <a:cubicBezTo>
                  <a:pt x="7193" y="1880"/>
                  <a:pt x="7185" y="1898"/>
                  <a:pt x="7185" y="1898"/>
                </a:cubicBezTo>
                <a:cubicBezTo>
                  <a:pt x="7185" y="1898"/>
                  <a:pt x="7156" y="1911"/>
                  <a:pt x="7159" y="1925"/>
                </a:cubicBezTo>
                <a:cubicBezTo>
                  <a:pt x="7162" y="1939"/>
                  <a:pt x="7169" y="1945"/>
                  <a:pt x="7169" y="1945"/>
                </a:cubicBezTo>
                <a:cubicBezTo>
                  <a:pt x="7169" y="1945"/>
                  <a:pt x="7160" y="1956"/>
                  <a:pt x="7168" y="1963"/>
                </a:cubicBezTo>
                <a:cubicBezTo>
                  <a:pt x="7176" y="1970"/>
                  <a:pt x="7185" y="1971"/>
                  <a:pt x="7185" y="1971"/>
                </a:cubicBezTo>
                <a:cubicBezTo>
                  <a:pt x="7185" y="1971"/>
                  <a:pt x="7195" y="1964"/>
                  <a:pt x="7195" y="1953"/>
                </a:cubicBezTo>
                <a:cubicBezTo>
                  <a:pt x="7195" y="1942"/>
                  <a:pt x="7194" y="1939"/>
                  <a:pt x="7194" y="1939"/>
                </a:cubicBezTo>
                <a:cubicBezTo>
                  <a:pt x="7202" y="1935"/>
                  <a:pt x="7202" y="1935"/>
                  <a:pt x="7202" y="1935"/>
                </a:cubicBezTo>
                <a:cubicBezTo>
                  <a:pt x="7200" y="1904"/>
                  <a:pt x="7200" y="1904"/>
                  <a:pt x="7200" y="1904"/>
                </a:cubicBezTo>
                <a:cubicBezTo>
                  <a:pt x="7195" y="1902"/>
                  <a:pt x="7195" y="1902"/>
                  <a:pt x="7195" y="1902"/>
                </a:cubicBezTo>
                <a:cubicBezTo>
                  <a:pt x="7195" y="1902"/>
                  <a:pt x="7201" y="1894"/>
                  <a:pt x="7197" y="1887"/>
                </a:cubicBezTo>
                <a:close/>
                <a:moveTo>
                  <a:pt x="6899" y="2070"/>
                </a:moveTo>
                <a:cubicBezTo>
                  <a:pt x="6899" y="2070"/>
                  <a:pt x="6903" y="2079"/>
                  <a:pt x="6907" y="2080"/>
                </a:cubicBezTo>
                <a:cubicBezTo>
                  <a:pt x="6911" y="2081"/>
                  <a:pt x="6919" y="2081"/>
                  <a:pt x="6919" y="2081"/>
                </a:cubicBezTo>
                <a:cubicBezTo>
                  <a:pt x="6925" y="2079"/>
                  <a:pt x="6935" y="2069"/>
                  <a:pt x="6934" y="2062"/>
                </a:cubicBezTo>
                <a:cubicBezTo>
                  <a:pt x="6933" y="2055"/>
                  <a:pt x="6924" y="2056"/>
                  <a:pt x="6924" y="2056"/>
                </a:cubicBezTo>
                <a:cubicBezTo>
                  <a:pt x="6924" y="2056"/>
                  <a:pt x="6921" y="2049"/>
                  <a:pt x="6915" y="2049"/>
                </a:cubicBezTo>
                <a:cubicBezTo>
                  <a:pt x="6909" y="2049"/>
                  <a:pt x="6886" y="2062"/>
                  <a:pt x="6889" y="2067"/>
                </a:cubicBezTo>
                <a:cubicBezTo>
                  <a:pt x="6892" y="2072"/>
                  <a:pt x="6899" y="2070"/>
                  <a:pt x="6899" y="2070"/>
                </a:cubicBezTo>
                <a:close/>
                <a:moveTo>
                  <a:pt x="7457" y="2158"/>
                </a:moveTo>
                <a:cubicBezTo>
                  <a:pt x="7463" y="2153"/>
                  <a:pt x="7457" y="2136"/>
                  <a:pt x="7457" y="2136"/>
                </a:cubicBezTo>
                <a:cubicBezTo>
                  <a:pt x="7452" y="2146"/>
                  <a:pt x="7452" y="2146"/>
                  <a:pt x="7452" y="2146"/>
                </a:cubicBezTo>
                <a:cubicBezTo>
                  <a:pt x="7452" y="2146"/>
                  <a:pt x="7439" y="2139"/>
                  <a:pt x="7432" y="2141"/>
                </a:cubicBezTo>
                <a:cubicBezTo>
                  <a:pt x="7425" y="2143"/>
                  <a:pt x="7415" y="2150"/>
                  <a:pt x="7415" y="2150"/>
                </a:cubicBezTo>
                <a:cubicBezTo>
                  <a:pt x="7415" y="2150"/>
                  <a:pt x="7396" y="2153"/>
                  <a:pt x="7388" y="2153"/>
                </a:cubicBezTo>
                <a:cubicBezTo>
                  <a:pt x="7380" y="2153"/>
                  <a:pt x="7366" y="2137"/>
                  <a:pt x="7363" y="2140"/>
                </a:cubicBezTo>
                <a:cubicBezTo>
                  <a:pt x="7360" y="2143"/>
                  <a:pt x="7352" y="2152"/>
                  <a:pt x="7352" y="2152"/>
                </a:cubicBezTo>
                <a:cubicBezTo>
                  <a:pt x="7339" y="2144"/>
                  <a:pt x="7339" y="2144"/>
                  <a:pt x="7339" y="2144"/>
                </a:cubicBezTo>
                <a:cubicBezTo>
                  <a:pt x="7339" y="2144"/>
                  <a:pt x="7319" y="2149"/>
                  <a:pt x="7327" y="2161"/>
                </a:cubicBezTo>
                <a:cubicBezTo>
                  <a:pt x="7338" y="2177"/>
                  <a:pt x="7350" y="2172"/>
                  <a:pt x="7355" y="2174"/>
                </a:cubicBezTo>
                <a:cubicBezTo>
                  <a:pt x="7360" y="2176"/>
                  <a:pt x="7365" y="2184"/>
                  <a:pt x="7367" y="2188"/>
                </a:cubicBezTo>
                <a:cubicBezTo>
                  <a:pt x="7369" y="2192"/>
                  <a:pt x="7391" y="2202"/>
                  <a:pt x="7391" y="2202"/>
                </a:cubicBezTo>
                <a:cubicBezTo>
                  <a:pt x="7404" y="2198"/>
                  <a:pt x="7404" y="2198"/>
                  <a:pt x="7404" y="2198"/>
                </a:cubicBezTo>
                <a:cubicBezTo>
                  <a:pt x="7404" y="2198"/>
                  <a:pt x="7418" y="2219"/>
                  <a:pt x="7437" y="2220"/>
                </a:cubicBezTo>
                <a:cubicBezTo>
                  <a:pt x="7456" y="2221"/>
                  <a:pt x="7451" y="2204"/>
                  <a:pt x="7451" y="2204"/>
                </a:cubicBezTo>
                <a:cubicBezTo>
                  <a:pt x="7451" y="2204"/>
                  <a:pt x="7446" y="2187"/>
                  <a:pt x="7446" y="2180"/>
                </a:cubicBezTo>
                <a:cubicBezTo>
                  <a:pt x="7446" y="2173"/>
                  <a:pt x="7451" y="2163"/>
                  <a:pt x="7457" y="2158"/>
                </a:cubicBezTo>
                <a:close/>
                <a:moveTo>
                  <a:pt x="7142" y="1987"/>
                </a:moveTo>
                <a:cubicBezTo>
                  <a:pt x="7138" y="1998"/>
                  <a:pt x="7138" y="1998"/>
                  <a:pt x="7138" y="1998"/>
                </a:cubicBezTo>
                <a:cubicBezTo>
                  <a:pt x="7138" y="1998"/>
                  <a:pt x="7153" y="2011"/>
                  <a:pt x="7153" y="2021"/>
                </a:cubicBezTo>
                <a:cubicBezTo>
                  <a:pt x="7153" y="2031"/>
                  <a:pt x="7149" y="2048"/>
                  <a:pt x="7149" y="2048"/>
                </a:cubicBezTo>
                <a:cubicBezTo>
                  <a:pt x="7155" y="2055"/>
                  <a:pt x="7155" y="2055"/>
                  <a:pt x="7155" y="2055"/>
                </a:cubicBezTo>
                <a:cubicBezTo>
                  <a:pt x="7147" y="2060"/>
                  <a:pt x="7147" y="2060"/>
                  <a:pt x="7147" y="2060"/>
                </a:cubicBezTo>
                <a:cubicBezTo>
                  <a:pt x="7152" y="2091"/>
                  <a:pt x="7152" y="2091"/>
                  <a:pt x="7152" y="2091"/>
                </a:cubicBezTo>
                <a:cubicBezTo>
                  <a:pt x="7143" y="2091"/>
                  <a:pt x="7143" y="2091"/>
                  <a:pt x="7143" y="2091"/>
                </a:cubicBezTo>
                <a:cubicBezTo>
                  <a:pt x="7156" y="2102"/>
                  <a:pt x="7156" y="2102"/>
                  <a:pt x="7156" y="2102"/>
                </a:cubicBezTo>
                <a:cubicBezTo>
                  <a:pt x="7172" y="2102"/>
                  <a:pt x="7177" y="2081"/>
                  <a:pt x="7177" y="2081"/>
                </a:cubicBezTo>
                <a:cubicBezTo>
                  <a:pt x="7177" y="2081"/>
                  <a:pt x="7189" y="2097"/>
                  <a:pt x="7198" y="2090"/>
                </a:cubicBezTo>
                <a:cubicBezTo>
                  <a:pt x="7207" y="2083"/>
                  <a:pt x="7203" y="2065"/>
                  <a:pt x="7203" y="2065"/>
                </a:cubicBezTo>
                <a:cubicBezTo>
                  <a:pt x="7207" y="2055"/>
                  <a:pt x="7207" y="2055"/>
                  <a:pt x="7207" y="2055"/>
                </a:cubicBezTo>
                <a:cubicBezTo>
                  <a:pt x="7207" y="2038"/>
                  <a:pt x="7207" y="2038"/>
                  <a:pt x="7207" y="2038"/>
                </a:cubicBezTo>
                <a:cubicBezTo>
                  <a:pt x="7207" y="2038"/>
                  <a:pt x="7201" y="2036"/>
                  <a:pt x="7202" y="2031"/>
                </a:cubicBezTo>
                <a:cubicBezTo>
                  <a:pt x="7203" y="2026"/>
                  <a:pt x="7214" y="2026"/>
                  <a:pt x="7214" y="2019"/>
                </a:cubicBezTo>
                <a:cubicBezTo>
                  <a:pt x="7214" y="2012"/>
                  <a:pt x="7205" y="1980"/>
                  <a:pt x="7193" y="1979"/>
                </a:cubicBezTo>
                <a:cubicBezTo>
                  <a:pt x="7181" y="1978"/>
                  <a:pt x="7169" y="1999"/>
                  <a:pt x="7161" y="1999"/>
                </a:cubicBezTo>
                <a:cubicBezTo>
                  <a:pt x="7153" y="1999"/>
                  <a:pt x="7142" y="1987"/>
                  <a:pt x="7142" y="1987"/>
                </a:cubicBezTo>
                <a:close/>
                <a:moveTo>
                  <a:pt x="4261" y="639"/>
                </a:moveTo>
                <a:cubicBezTo>
                  <a:pt x="4303" y="637"/>
                  <a:pt x="4303" y="637"/>
                  <a:pt x="4303" y="637"/>
                </a:cubicBezTo>
                <a:cubicBezTo>
                  <a:pt x="4303" y="626"/>
                  <a:pt x="4303" y="626"/>
                  <a:pt x="4303" y="626"/>
                </a:cubicBezTo>
                <a:cubicBezTo>
                  <a:pt x="4273" y="628"/>
                  <a:pt x="4273" y="628"/>
                  <a:pt x="4273" y="628"/>
                </a:cubicBezTo>
                <a:lnTo>
                  <a:pt x="4261" y="639"/>
                </a:lnTo>
                <a:close/>
                <a:moveTo>
                  <a:pt x="4261" y="595"/>
                </a:moveTo>
                <a:cubicBezTo>
                  <a:pt x="4234" y="589"/>
                  <a:pt x="4261" y="607"/>
                  <a:pt x="4261" y="607"/>
                </a:cubicBezTo>
                <a:cubicBezTo>
                  <a:pt x="4277" y="605"/>
                  <a:pt x="4289" y="601"/>
                  <a:pt x="4261" y="595"/>
                </a:cubicBezTo>
                <a:close/>
                <a:moveTo>
                  <a:pt x="3805" y="403"/>
                </a:moveTo>
                <a:cubicBezTo>
                  <a:pt x="3830" y="396"/>
                  <a:pt x="3847" y="416"/>
                  <a:pt x="3847" y="416"/>
                </a:cubicBezTo>
                <a:cubicBezTo>
                  <a:pt x="3885" y="411"/>
                  <a:pt x="3885" y="411"/>
                  <a:pt x="3885" y="411"/>
                </a:cubicBezTo>
                <a:cubicBezTo>
                  <a:pt x="3880" y="396"/>
                  <a:pt x="3880" y="396"/>
                  <a:pt x="3880" y="396"/>
                </a:cubicBezTo>
                <a:cubicBezTo>
                  <a:pt x="3880" y="396"/>
                  <a:pt x="3929" y="394"/>
                  <a:pt x="3939" y="382"/>
                </a:cubicBezTo>
                <a:cubicBezTo>
                  <a:pt x="3949" y="371"/>
                  <a:pt x="3966" y="360"/>
                  <a:pt x="3953" y="360"/>
                </a:cubicBezTo>
                <a:cubicBezTo>
                  <a:pt x="3939" y="359"/>
                  <a:pt x="3862" y="350"/>
                  <a:pt x="3821" y="352"/>
                </a:cubicBezTo>
                <a:cubicBezTo>
                  <a:pt x="3782" y="353"/>
                  <a:pt x="3793" y="352"/>
                  <a:pt x="3792" y="360"/>
                </a:cubicBezTo>
                <a:cubicBezTo>
                  <a:pt x="3790" y="369"/>
                  <a:pt x="3776" y="372"/>
                  <a:pt x="3742" y="380"/>
                </a:cubicBezTo>
                <a:cubicBezTo>
                  <a:pt x="3709" y="387"/>
                  <a:pt x="3741" y="388"/>
                  <a:pt x="3739" y="410"/>
                </a:cubicBezTo>
                <a:cubicBezTo>
                  <a:pt x="3727" y="427"/>
                  <a:pt x="3727" y="427"/>
                  <a:pt x="3727" y="427"/>
                </a:cubicBezTo>
                <a:cubicBezTo>
                  <a:pt x="3747" y="439"/>
                  <a:pt x="3747" y="439"/>
                  <a:pt x="3747" y="439"/>
                </a:cubicBezTo>
                <a:cubicBezTo>
                  <a:pt x="3800" y="417"/>
                  <a:pt x="3800" y="417"/>
                  <a:pt x="3800" y="417"/>
                </a:cubicBezTo>
                <a:cubicBezTo>
                  <a:pt x="3800" y="417"/>
                  <a:pt x="3781" y="410"/>
                  <a:pt x="3805" y="403"/>
                </a:cubicBezTo>
                <a:close/>
                <a:moveTo>
                  <a:pt x="4156" y="573"/>
                </a:moveTo>
                <a:cubicBezTo>
                  <a:pt x="4140" y="578"/>
                  <a:pt x="4115" y="589"/>
                  <a:pt x="4139" y="584"/>
                </a:cubicBezTo>
                <a:cubicBezTo>
                  <a:pt x="4162" y="579"/>
                  <a:pt x="4182" y="571"/>
                  <a:pt x="4182" y="571"/>
                </a:cubicBezTo>
                <a:cubicBezTo>
                  <a:pt x="4206" y="553"/>
                  <a:pt x="4172" y="568"/>
                  <a:pt x="4156" y="573"/>
                </a:cubicBezTo>
                <a:close/>
                <a:moveTo>
                  <a:pt x="3888" y="337"/>
                </a:moveTo>
                <a:cubicBezTo>
                  <a:pt x="3899" y="330"/>
                  <a:pt x="3924" y="311"/>
                  <a:pt x="3920" y="303"/>
                </a:cubicBezTo>
                <a:cubicBezTo>
                  <a:pt x="3916" y="294"/>
                  <a:pt x="3882" y="296"/>
                  <a:pt x="3871" y="297"/>
                </a:cubicBezTo>
                <a:cubicBezTo>
                  <a:pt x="3848" y="299"/>
                  <a:pt x="3804" y="314"/>
                  <a:pt x="3816" y="322"/>
                </a:cubicBezTo>
                <a:cubicBezTo>
                  <a:pt x="3828" y="329"/>
                  <a:pt x="3888" y="337"/>
                  <a:pt x="3888" y="337"/>
                </a:cubicBezTo>
                <a:close/>
                <a:moveTo>
                  <a:pt x="4229" y="562"/>
                </a:moveTo>
                <a:cubicBezTo>
                  <a:pt x="4215" y="556"/>
                  <a:pt x="4204" y="575"/>
                  <a:pt x="4217" y="579"/>
                </a:cubicBezTo>
                <a:cubicBezTo>
                  <a:pt x="4217" y="579"/>
                  <a:pt x="4243" y="568"/>
                  <a:pt x="4229" y="562"/>
                </a:cubicBezTo>
                <a:close/>
                <a:moveTo>
                  <a:pt x="4037" y="845"/>
                </a:moveTo>
                <a:cubicBezTo>
                  <a:pt x="4047" y="835"/>
                  <a:pt x="4022" y="831"/>
                  <a:pt x="4022" y="831"/>
                </a:cubicBezTo>
                <a:cubicBezTo>
                  <a:pt x="4022" y="831"/>
                  <a:pt x="4022" y="860"/>
                  <a:pt x="4037" y="845"/>
                </a:cubicBezTo>
                <a:close/>
                <a:moveTo>
                  <a:pt x="4169" y="657"/>
                </a:moveTo>
                <a:cubicBezTo>
                  <a:pt x="4204" y="663"/>
                  <a:pt x="4214" y="656"/>
                  <a:pt x="4229" y="646"/>
                </a:cubicBezTo>
                <a:cubicBezTo>
                  <a:pt x="4245" y="637"/>
                  <a:pt x="4241" y="621"/>
                  <a:pt x="4227" y="617"/>
                </a:cubicBezTo>
                <a:cubicBezTo>
                  <a:pt x="4213" y="614"/>
                  <a:pt x="4180" y="623"/>
                  <a:pt x="4180" y="623"/>
                </a:cubicBezTo>
                <a:cubicBezTo>
                  <a:pt x="4142" y="647"/>
                  <a:pt x="4134" y="652"/>
                  <a:pt x="4169" y="657"/>
                </a:cubicBezTo>
                <a:close/>
                <a:moveTo>
                  <a:pt x="219" y="1307"/>
                </a:moveTo>
                <a:cubicBezTo>
                  <a:pt x="221" y="1293"/>
                  <a:pt x="221" y="1293"/>
                  <a:pt x="221" y="1293"/>
                </a:cubicBezTo>
                <a:cubicBezTo>
                  <a:pt x="184" y="1308"/>
                  <a:pt x="184" y="1308"/>
                  <a:pt x="184" y="1308"/>
                </a:cubicBezTo>
                <a:lnTo>
                  <a:pt x="219" y="1307"/>
                </a:lnTo>
                <a:close/>
                <a:moveTo>
                  <a:pt x="0" y="1365"/>
                </a:moveTo>
                <a:cubicBezTo>
                  <a:pt x="41" y="1359"/>
                  <a:pt x="41" y="1359"/>
                  <a:pt x="41" y="1359"/>
                </a:cubicBezTo>
                <a:cubicBezTo>
                  <a:pt x="49" y="1348"/>
                  <a:pt x="49" y="1348"/>
                  <a:pt x="49" y="1348"/>
                </a:cubicBezTo>
                <a:cubicBezTo>
                  <a:pt x="90" y="1342"/>
                  <a:pt x="90" y="1342"/>
                  <a:pt x="90" y="1342"/>
                </a:cubicBezTo>
                <a:cubicBezTo>
                  <a:pt x="76" y="1328"/>
                  <a:pt x="76" y="1328"/>
                  <a:pt x="76" y="1328"/>
                </a:cubicBezTo>
                <a:lnTo>
                  <a:pt x="0" y="1365"/>
                </a:lnTo>
                <a:close/>
                <a:moveTo>
                  <a:pt x="525" y="1021"/>
                </a:moveTo>
                <a:cubicBezTo>
                  <a:pt x="547" y="1019"/>
                  <a:pt x="594" y="998"/>
                  <a:pt x="578" y="994"/>
                </a:cubicBezTo>
                <a:cubicBezTo>
                  <a:pt x="561" y="989"/>
                  <a:pt x="539" y="986"/>
                  <a:pt x="533" y="992"/>
                </a:cubicBezTo>
                <a:cubicBezTo>
                  <a:pt x="527" y="998"/>
                  <a:pt x="514" y="985"/>
                  <a:pt x="510" y="996"/>
                </a:cubicBezTo>
                <a:cubicBezTo>
                  <a:pt x="507" y="1007"/>
                  <a:pt x="513" y="1022"/>
                  <a:pt x="525" y="1021"/>
                </a:cubicBezTo>
                <a:close/>
                <a:moveTo>
                  <a:pt x="107" y="1339"/>
                </a:moveTo>
                <a:cubicBezTo>
                  <a:pt x="135" y="1338"/>
                  <a:pt x="135" y="1338"/>
                  <a:pt x="135" y="1338"/>
                </a:cubicBezTo>
                <a:cubicBezTo>
                  <a:pt x="161" y="1319"/>
                  <a:pt x="161" y="1319"/>
                  <a:pt x="161" y="1319"/>
                </a:cubicBezTo>
                <a:cubicBezTo>
                  <a:pt x="152" y="1308"/>
                  <a:pt x="152" y="1308"/>
                  <a:pt x="152" y="1308"/>
                </a:cubicBezTo>
                <a:lnTo>
                  <a:pt x="107" y="1339"/>
                </a:lnTo>
                <a:close/>
                <a:moveTo>
                  <a:pt x="331" y="1256"/>
                </a:moveTo>
                <a:cubicBezTo>
                  <a:pt x="319" y="1256"/>
                  <a:pt x="290" y="1267"/>
                  <a:pt x="290" y="1267"/>
                </a:cubicBezTo>
                <a:cubicBezTo>
                  <a:pt x="290" y="1267"/>
                  <a:pt x="253" y="1281"/>
                  <a:pt x="254" y="1288"/>
                </a:cubicBezTo>
                <a:cubicBezTo>
                  <a:pt x="256" y="1297"/>
                  <a:pt x="270" y="1291"/>
                  <a:pt x="289" y="1285"/>
                </a:cubicBezTo>
                <a:cubicBezTo>
                  <a:pt x="308" y="1278"/>
                  <a:pt x="328" y="1288"/>
                  <a:pt x="335" y="1282"/>
                </a:cubicBezTo>
                <a:cubicBezTo>
                  <a:pt x="342" y="1276"/>
                  <a:pt x="344" y="1256"/>
                  <a:pt x="331" y="1256"/>
                </a:cubicBezTo>
                <a:close/>
                <a:moveTo>
                  <a:pt x="908" y="1114"/>
                </a:moveTo>
                <a:cubicBezTo>
                  <a:pt x="905" y="1115"/>
                  <a:pt x="892" y="1120"/>
                  <a:pt x="892" y="1120"/>
                </a:cubicBezTo>
                <a:cubicBezTo>
                  <a:pt x="892" y="1120"/>
                  <a:pt x="884" y="1113"/>
                  <a:pt x="879" y="1114"/>
                </a:cubicBezTo>
                <a:cubicBezTo>
                  <a:pt x="874" y="1115"/>
                  <a:pt x="875" y="1130"/>
                  <a:pt x="875" y="1130"/>
                </a:cubicBezTo>
                <a:cubicBezTo>
                  <a:pt x="859" y="1142"/>
                  <a:pt x="859" y="1142"/>
                  <a:pt x="859" y="1142"/>
                </a:cubicBezTo>
                <a:cubicBezTo>
                  <a:pt x="859" y="1125"/>
                  <a:pt x="859" y="1125"/>
                  <a:pt x="859" y="1125"/>
                </a:cubicBezTo>
                <a:cubicBezTo>
                  <a:pt x="859" y="1125"/>
                  <a:pt x="845" y="1120"/>
                  <a:pt x="831" y="1133"/>
                </a:cubicBezTo>
                <a:cubicBezTo>
                  <a:pt x="831" y="1133"/>
                  <a:pt x="814" y="1144"/>
                  <a:pt x="811" y="1151"/>
                </a:cubicBezTo>
                <a:cubicBezTo>
                  <a:pt x="809" y="1159"/>
                  <a:pt x="831" y="1160"/>
                  <a:pt x="831" y="1160"/>
                </a:cubicBezTo>
                <a:cubicBezTo>
                  <a:pt x="831" y="1160"/>
                  <a:pt x="861" y="1160"/>
                  <a:pt x="872" y="1155"/>
                </a:cubicBezTo>
                <a:cubicBezTo>
                  <a:pt x="884" y="1150"/>
                  <a:pt x="881" y="1143"/>
                  <a:pt x="881" y="1143"/>
                </a:cubicBezTo>
                <a:cubicBezTo>
                  <a:pt x="899" y="1140"/>
                  <a:pt x="899" y="1140"/>
                  <a:pt x="899" y="1140"/>
                </a:cubicBezTo>
                <a:cubicBezTo>
                  <a:pt x="900" y="1134"/>
                  <a:pt x="900" y="1134"/>
                  <a:pt x="900" y="1134"/>
                </a:cubicBezTo>
                <a:cubicBezTo>
                  <a:pt x="925" y="1133"/>
                  <a:pt x="925" y="1133"/>
                  <a:pt x="925" y="1133"/>
                </a:cubicBezTo>
                <a:cubicBezTo>
                  <a:pt x="931" y="1117"/>
                  <a:pt x="931" y="1117"/>
                  <a:pt x="931" y="1117"/>
                </a:cubicBezTo>
                <a:cubicBezTo>
                  <a:pt x="920" y="1119"/>
                  <a:pt x="920" y="1119"/>
                  <a:pt x="920" y="1119"/>
                </a:cubicBezTo>
                <a:cubicBezTo>
                  <a:pt x="920" y="1119"/>
                  <a:pt x="912" y="1113"/>
                  <a:pt x="908" y="1114"/>
                </a:cubicBezTo>
                <a:close/>
                <a:moveTo>
                  <a:pt x="3018" y="262"/>
                </a:moveTo>
                <a:cubicBezTo>
                  <a:pt x="3018" y="262"/>
                  <a:pt x="3056" y="255"/>
                  <a:pt x="3065" y="261"/>
                </a:cubicBezTo>
                <a:cubicBezTo>
                  <a:pt x="3075" y="267"/>
                  <a:pt x="3069" y="277"/>
                  <a:pt x="3081" y="277"/>
                </a:cubicBezTo>
                <a:cubicBezTo>
                  <a:pt x="3094" y="277"/>
                  <a:pt x="3116" y="272"/>
                  <a:pt x="3116" y="272"/>
                </a:cubicBezTo>
                <a:cubicBezTo>
                  <a:pt x="3116" y="272"/>
                  <a:pt x="3132" y="281"/>
                  <a:pt x="3147" y="274"/>
                </a:cubicBezTo>
                <a:cubicBezTo>
                  <a:pt x="3163" y="268"/>
                  <a:pt x="3160" y="251"/>
                  <a:pt x="3160" y="251"/>
                </a:cubicBezTo>
                <a:cubicBezTo>
                  <a:pt x="3182" y="251"/>
                  <a:pt x="3182" y="251"/>
                  <a:pt x="3182" y="251"/>
                </a:cubicBezTo>
                <a:cubicBezTo>
                  <a:pt x="3226" y="237"/>
                  <a:pt x="3226" y="237"/>
                  <a:pt x="3226" y="237"/>
                </a:cubicBezTo>
                <a:cubicBezTo>
                  <a:pt x="3201" y="260"/>
                  <a:pt x="3201" y="260"/>
                  <a:pt x="3201" y="260"/>
                </a:cubicBezTo>
                <a:cubicBezTo>
                  <a:pt x="3236" y="266"/>
                  <a:pt x="3236" y="266"/>
                  <a:pt x="3236" y="266"/>
                </a:cubicBezTo>
                <a:cubicBezTo>
                  <a:pt x="3273" y="251"/>
                  <a:pt x="3273" y="251"/>
                  <a:pt x="3273" y="251"/>
                </a:cubicBezTo>
                <a:cubicBezTo>
                  <a:pt x="3336" y="222"/>
                  <a:pt x="3336" y="222"/>
                  <a:pt x="3336" y="222"/>
                </a:cubicBezTo>
                <a:cubicBezTo>
                  <a:pt x="3336" y="222"/>
                  <a:pt x="3288" y="207"/>
                  <a:pt x="3279" y="207"/>
                </a:cubicBezTo>
                <a:cubicBezTo>
                  <a:pt x="3269" y="207"/>
                  <a:pt x="3216" y="203"/>
                  <a:pt x="3216" y="203"/>
                </a:cubicBezTo>
                <a:cubicBezTo>
                  <a:pt x="3165" y="211"/>
                  <a:pt x="3165" y="211"/>
                  <a:pt x="3165" y="211"/>
                </a:cubicBezTo>
                <a:cubicBezTo>
                  <a:pt x="3162" y="225"/>
                  <a:pt x="3162" y="225"/>
                  <a:pt x="3162" y="225"/>
                </a:cubicBezTo>
                <a:cubicBezTo>
                  <a:pt x="3084" y="231"/>
                  <a:pt x="3084" y="231"/>
                  <a:pt x="3084" y="231"/>
                </a:cubicBezTo>
                <a:cubicBezTo>
                  <a:pt x="3084" y="231"/>
                  <a:pt x="3058" y="222"/>
                  <a:pt x="3036" y="226"/>
                </a:cubicBezTo>
                <a:cubicBezTo>
                  <a:pt x="3014" y="229"/>
                  <a:pt x="3017" y="237"/>
                  <a:pt x="3017" y="237"/>
                </a:cubicBezTo>
                <a:cubicBezTo>
                  <a:pt x="3017" y="242"/>
                  <a:pt x="3018" y="262"/>
                  <a:pt x="3018" y="262"/>
                </a:cubicBezTo>
                <a:close/>
                <a:moveTo>
                  <a:pt x="3472" y="227"/>
                </a:moveTo>
                <a:cubicBezTo>
                  <a:pt x="3534" y="231"/>
                  <a:pt x="3529" y="212"/>
                  <a:pt x="3529" y="212"/>
                </a:cubicBezTo>
                <a:cubicBezTo>
                  <a:pt x="3525" y="202"/>
                  <a:pt x="3525" y="202"/>
                  <a:pt x="3525" y="202"/>
                </a:cubicBezTo>
                <a:cubicBezTo>
                  <a:pt x="3571" y="197"/>
                  <a:pt x="3571" y="197"/>
                  <a:pt x="3571" y="197"/>
                </a:cubicBezTo>
                <a:cubicBezTo>
                  <a:pt x="3560" y="189"/>
                  <a:pt x="3560" y="189"/>
                  <a:pt x="3560" y="189"/>
                </a:cubicBezTo>
                <a:cubicBezTo>
                  <a:pt x="3515" y="191"/>
                  <a:pt x="3515" y="191"/>
                  <a:pt x="3515" y="191"/>
                </a:cubicBezTo>
                <a:cubicBezTo>
                  <a:pt x="3507" y="199"/>
                  <a:pt x="3507" y="199"/>
                  <a:pt x="3507" y="199"/>
                </a:cubicBezTo>
                <a:cubicBezTo>
                  <a:pt x="3507" y="199"/>
                  <a:pt x="3448" y="186"/>
                  <a:pt x="3441" y="202"/>
                </a:cubicBezTo>
                <a:cubicBezTo>
                  <a:pt x="3435" y="218"/>
                  <a:pt x="3472" y="227"/>
                  <a:pt x="3472" y="227"/>
                </a:cubicBezTo>
                <a:close/>
                <a:moveTo>
                  <a:pt x="3267" y="270"/>
                </a:moveTo>
                <a:cubicBezTo>
                  <a:pt x="3231" y="288"/>
                  <a:pt x="3231" y="288"/>
                  <a:pt x="3231" y="288"/>
                </a:cubicBezTo>
                <a:cubicBezTo>
                  <a:pt x="3231" y="288"/>
                  <a:pt x="3266" y="294"/>
                  <a:pt x="3250" y="297"/>
                </a:cubicBezTo>
                <a:cubicBezTo>
                  <a:pt x="3234" y="301"/>
                  <a:pt x="3176" y="305"/>
                  <a:pt x="3176" y="305"/>
                </a:cubicBezTo>
                <a:cubicBezTo>
                  <a:pt x="3162" y="321"/>
                  <a:pt x="3162" y="321"/>
                  <a:pt x="3162" y="321"/>
                </a:cubicBezTo>
                <a:cubicBezTo>
                  <a:pt x="3199" y="316"/>
                  <a:pt x="3199" y="316"/>
                  <a:pt x="3199" y="316"/>
                </a:cubicBezTo>
                <a:cubicBezTo>
                  <a:pt x="3199" y="316"/>
                  <a:pt x="3214" y="321"/>
                  <a:pt x="3233" y="324"/>
                </a:cubicBezTo>
                <a:cubicBezTo>
                  <a:pt x="3252" y="327"/>
                  <a:pt x="3308" y="308"/>
                  <a:pt x="3308" y="308"/>
                </a:cubicBezTo>
                <a:cubicBezTo>
                  <a:pt x="3306" y="317"/>
                  <a:pt x="3306" y="317"/>
                  <a:pt x="3306" y="317"/>
                </a:cubicBezTo>
                <a:cubicBezTo>
                  <a:pt x="3306" y="317"/>
                  <a:pt x="3344" y="312"/>
                  <a:pt x="3374" y="310"/>
                </a:cubicBezTo>
                <a:cubicBezTo>
                  <a:pt x="3402" y="308"/>
                  <a:pt x="3377" y="315"/>
                  <a:pt x="3367" y="317"/>
                </a:cubicBezTo>
                <a:cubicBezTo>
                  <a:pt x="3357" y="318"/>
                  <a:pt x="3323" y="322"/>
                  <a:pt x="3298" y="325"/>
                </a:cubicBezTo>
                <a:cubicBezTo>
                  <a:pt x="3273" y="328"/>
                  <a:pt x="3242" y="339"/>
                  <a:pt x="3242" y="339"/>
                </a:cubicBezTo>
                <a:cubicBezTo>
                  <a:pt x="3242" y="339"/>
                  <a:pt x="3270" y="344"/>
                  <a:pt x="3320" y="346"/>
                </a:cubicBezTo>
                <a:cubicBezTo>
                  <a:pt x="3368" y="347"/>
                  <a:pt x="3402" y="326"/>
                  <a:pt x="3402" y="326"/>
                </a:cubicBezTo>
                <a:cubicBezTo>
                  <a:pt x="3452" y="313"/>
                  <a:pt x="3452" y="313"/>
                  <a:pt x="3452" y="313"/>
                </a:cubicBezTo>
                <a:cubicBezTo>
                  <a:pt x="3452" y="313"/>
                  <a:pt x="3469" y="319"/>
                  <a:pt x="3517" y="313"/>
                </a:cubicBezTo>
                <a:cubicBezTo>
                  <a:pt x="3563" y="307"/>
                  <a:pt x="3566" y="297"/>
                  <a:pt x="3585" y="292"/>
                </a:cubicBezTo>
                <a:cubicBezTo>
                  <a:pt x="3603" y="287"/>
                  <a:pt x="3588" y="267"/>
                  <a:pt x="3568" y="267"/>
                </a:cubicBezTo>
                <a:cubicBezTo>
                  <a:pt x="3548" y="268"/>
                  <a:pt x="3554" y="281"/>
                  <a:pt x="3554" y="281"/>
                </a:cubicBezTo>
                <a:cubicBezTo>
                  <a:pt x="3527" y="280"/>
                  <a:pt x="3527" y="280"/>
                  <a:pt x="3527" y="280"/>
                </a:cubicBezTo>
                <a:cubicBezTo>
                  <a:pt x="3527" y="280"/>
                  <a:pt x="3532" y="273"/>
                  <a:pt x="3537" y="265"/>
                </a:cubicBezTo>
                <a:cubicBezTo>
                  <a:pt x="3542" y="257"/>
                  <a:pt x="3555" y="242"/>
                  <a:pt x="3543" y="242"/>
                </a:cubicBezTo>
                <a:cubicBezTo>
                  <a:pt x="3531" y="241"/>
                  <a:pt x="3506" y="252"/>
                  <a:pt x="3473" y="262"/>
                </a:cubicBezTo>
                <a:cubicBezTo>
                  <a:pt x="3439" y="272"/>
                  <a:pt x="3494" y="269"/>
                  <a:pt x="3494" y="269"/>
                </a:cubicBezTo>
                <a:cubicBezTo>
                  <a:pt x="3491" y="285"/>
                  <a:pt x="3491" y="285"/>
                  <a:pt x="3491" y="285"/>
                </a:cubicBezTo>
                <a:cubicBezTo>
                  <a:pt x="3411" y="295"/>
                  <a:pt x="3411" y="295"/>
                  <a:pt x="3411" y="295"/>
                </a:cubicBezTo>
                <a:cubicBezTo>
                  <a:pt x="3411" y="295"/>
                  <a:pt x="3405" y="275"/>
                  <a:pt x="3410" y="266"/>
                </a:cubicBezTo>
                <a:cubicBezTo>
                  <a:pt x="3414" y="257"/>
                  <a:pt x="3357" y="253"/>
                  <a:pt x="3357" y="253"/>
                </a:cubicBezTo>
                <a:lnTo>
                  <a:pt x="3267" y="270"/>
                </a:lnTo>
                <a:close/>
                <a:moveTo>
                  <a:pt x="2745" y="467"/>
                </a:moveTo>
                <a:cubicBezTo>
                  <a:pt x="2750" y="479"/>
                  <a:pt x="2720" y="495"/>
                  <a:pt x="2748" y="491"/>
                </a:cubicBezTo>
                <a:cubicBezTo>
                  <a:pt x="2776" y="487"/>
                  <a:pt x="2810" y="475"/>
                  <a:pt x="2810" y="475"/>
                </a:cubicBezTo>
                <a:cubicBezTo>
                  <a:pt x="2836" y="481"/>
                  <a:pt x="2836" y="481"/>
                  <a:pt x="2836" y="481"/>
                </a:cubicBezTo>
                <a:cubicBezTo>
                  <a:pt x="2887" y="443"/>
                  <a:pt x="2887" y="443"/>
                  <a:pt x="2887" y="443"/>
                </a:cubicBezTo>
                <a:cubicBezTo>
                  <a:pt x="2975" y="415"/>
                  <a:pt x="2975" y="415"/>
                  <a:pt x="2975" y="415"/>
                </a:cubicBezTo>
                <a:cubicBezTo>
                  <a:pt x="3058" y="392"/>
                  <a:pt x="3058" y="392"/>
                  <a:pt x="3058" y="392"/>
                </a:cubicBezTo>
                <a:cubicBezTo>
                  <a:pt x="3124" y="379"/>
                  <a:pt x="3124" y="379"/>
                  <a:pt x="3124" y="379"/>
                </a:cubicBezTo>
                <a:cubicBezTo>
                  <a:pt x="3124" y="379"/>
                  <a:pt x="3085" y="347"/>
                  <a:pt x="3082" y="343"/>
                </a:cubicBezTo>
                <a:cubicBezTo>
                  <a:pt x="3078" y="340"/>
                  <a:pt x="3031" y="346"/>
                  <a:pt x="3031" y="346"/>
                </a:cubicBezTo>
                <a:cubicBezTo>
                  <a:pt x="2987" y="352"/>
                  <a:pt x="2987" y="352"/>
                  <a:pt x="2987" y="352"/>
                </a:cubicBezTo>
                <a:cubicBezTo>
                  <a:pt x="2963" y="334"/>
                  <a:pt x="2963" y="334"/>
                  <a:pt x="2963" y="334"/>
                </a:cubicBezTo>
                <a:cubicBezTo>
                  <a:pt x="2909" y="341"/>
                  <a:pt x="2909" y="341"/>
                  <a:pt x="2909" y="341"/>
                </a:cubicBezTo>
                <a:cubicBezTo>
                  <a:pt x="2875" y="351"/>
                  <a:pt x="2875" y="351"/>
                  <a:pt x="2875" y="351"/>
                </a:cubicBezTo>
                <a:cubicBezTo>
                  <a:pt x="2865" y="364"/>
                  <a:pt x="2865" y="364"/>
                  <a:pt x="2865" y="364"/>
                </a:cubicBezTo>
                <a:cubicBezTo>
                  <a:pt x="2854" y="384"/>
                  <a:pt x="2854" y="384"/>
                  <a:pt x="2854" y="384"/>
                </a:cubicBezTo>
                <a:cubicBezTo>
                  <a:pt x="2822" y="393"/>
                  <a:pt x="2822" y="393"/>
                  <a:pt x="2822" y="393"/>
                </a:cubicBezTo>
                <a:cubicBezTo>
                  <a:pt x="2776" y="406"/>
                  <a:pt x="2776" y="406"/>
                  <a:pt x="2776" y="406"/>
                </a:cubicBezTo>
                <a:cubicBezTo>
                  <a:pt x="2789" y="414"/>
                  <a:pt x="2789" y="414"/>
                  <a:pt x="2789" y="414"/>
                </a:cubicBezTo>
                <a:cubicBezTo>
                  <a:pt x="2709" y="450"/>
                  <a:pt x="2709" y="450"/>
                  <a:pt x="2709" y="450"/>
                </a:cubicBezTo>
                <a:cubicBezTo>
                  <a:pt x="2709" y="450"/>
                  <a:pt x="2741" y="455"/>
                  <a:pt x="2745" y="467"/>
                </a:cubicBezTo>
                <a:close/>
                <a:moveTo>
                  <a:pt x="3369" y="243"/>
                </a:moveTo>
                <a:cubicBezTo>
                  <a:pt x="3387" y="228"/>
                  <a:pt x="3368" y="219"/>
                  <a:pt x="3350" y="229"/>
                </a:cubicBezTo>
                <a:cubicBezTo>
                  <a:pt x="3331" y="239"/>
                  <a:pt x="3369" y="243"/>
                  <a:pt x="3369" y="243"/>
                </a:cubicBezTo>
                <a:close/>
                <a:moveTo>
                  <a:pt x="3556" y="183"/>
                </a:moveTo>
                <a:cubicBezTo>
                  <a:pt x="3566" y="182"/>
                  <a:pt x="3595" y="190"/>
                  <a:pt x="3597" y="182"/>
                </a:cubicBezTo>
                <a:cubicBezTo>
                  <a:pt x="3599" y="173"/>
                  <a:pt x="3589" y="167"/>
                  <a:pt x="3573" y="167"/>
                </a:cubicBezTo>
                <a:cubicBezTo>
                  <a:pt x="3556" y="167"/>
                  <a:pt x="3491" y="178"/>
                  <a:pt x="3491" y="178"/>
                </a:cubicBezTo>
                <a:cubicBezTo>
                  <a:pt x="3491" y="178"/>
                  <a:pt x="3547" y="184"/>
                  <a:pt x="3556" y="183"/>
                </a:cubicBezTo>
                <a:close/>
                <a:moveTo>
                  <a:pt x="4268" y="416"/>
                </a:moveTo>
                <a:cubicBezTo>
                  <a:pt x="4284" y="422"/>
                  <a:pt x="4306" y="408"/>
                  <a:pt x="4306" y="408"/>
                </a:cubicBezTo>
                <a:cubicBezTo>
                  <a:pt x="4347" y="407"/>
                  <a:pt x="4347" y="407"/>
                  <a:pt x="4347" y="407"/>
                </a:cubicBezTo>
                <a:cubicBezTo>
                  <a:pt x="4347" y="407"/>
                  <a:pt x="4373" y="417"/>
                  <a:pt x="4381" y="411"/>
                </a:cubicBezTo>
                <a:cubicBezTo>
                  <a:pt x="4388" y="406"/>
                  <a:pt x="4382" y="383"/>
                  <a:pt x="4365" y="379"/>
                </a:cubicBezTo>
                <a:cubicBezTo>
                  <a:pt x="4347" y="375"/>
                  <a:pt x="4331" y="380"/>
                  <a:pt x="4331" y="380"/>
                </a:cubicBezTo>
                <a:cubicBezTo>
                  <a:pt x="4305" y="380"/>
                  <a:pt x="4305" y="380"/>
                  <a:pt x="4305" y="380"/>
                </a:cubicBezTo>
                <a:cubicBezTo>
                  <a:pt x="4305" y="380"/>
                  <a:pt x="4275" y="368"/>
                  <a:pt x="4264" y="377"/>
                </a:cubicBezTo>
                <a:cubicBezTo>
                  <a:pt x="4254" y="385"/>
                  <a:pt x="4250" y="391"/>
                  <a:pt x="4250" y="391"/>
                </a:cubicBezTo>
                <a:cubicBezTo>
                  <a:pt x="4263" y="398"/>
                  <a:pt x="4263" y="398"/>
                  <a:pt x="4263" y="398"/>
                </a:cubicBezTo>
                <a:cubicBezTo>
                  <a:pt x="4263" y="398"/>
                  <a:pt x="4254" y="410"/>
                  <a:pt x="4268" y="416"/>
                </a:cubicBezTo>
                <a:close/>
                <a:moveTo>
                  <a:pt x="4008" y="114"/>
                </a:moveTo>
                <a:cubicBezTo>
                  <a:pt x="3971" y="118"/>
                  <a:pt x="3971" y="118"/>
                  <a:pt x="3971" y="118"/>
                </a:cubicBezTo>
                <a:cubicBezTo>
                  <a:pt x="3985" y="136"/>
                  <a:pt x="3985" y="136"/>
                  <a:pt x="3985" y="136"/>
                </a:cubicBezTo>
                <a:lnTo>
                  <a:pt x="4008" y="114"/>
                </a:lnTo>
                <a:close/>
                <a:moveTo>
                  <a:pt x="3411" y="512"/>
                </a:moveTo>
                <a:cubicBezTo>
                  <a:pt x="3409" y="506"/>
                  <a:pt x="3344" y="507"/>
                  <a:pt x="3344" y="507"/>
                </a:cubicBezTo>
                <a:cubicBezTo>
                  <a:pt x="3397" y="479"/>
                  <a:pt x="3397" y="479"/>
                  <a:pt x="3397" y="479"/>
                </a:cubicBezTo>
                <a:cubicBezTo>
                  <a:pt x="3397" y="479"/>
                  <a:pt x="3429" y="405"/>
                  <a:pt x="3400" y="396"/>
                </a:cubicBezTo>
                <a:cubicBezTo>
                  <a:pt x="3373" y="388"/>
                  <a:pt x="3334" y="406"/>
                  <a:pt x="3334" y="406"/>
                </a:cubicBezTo>
                <a:cubicBezTo>
                  <a:pt x="3334" y="406"/>
                  <a:pt x="3308" y="460"/>
                  <a:pt x="3284" y="463"/>
                </a:cubicBezTo>
                <a:cubicBezTo>
                  <a:pt x="3260" y="466"/>
                  <a:pt x="3300" y="426"/>
                  <a:pt x="3298" y="416"/>
                </a:cubicBezTo>
                <a:cubicBezTo>
                  <a:pt x="3296" y="406"/>
                  <a:pt x="3232" y="405"/>
                  <a:pt x="3232" y="405"/>
                </a:cubicBezTo>
                <a:cubicBezTo>
                  <a:pt x="3226" y="418"/>
                  <a:pt x="3226" y="418"/>
                  <a:pt x="3226" y="418"/>
                </a:cubicBezTo>
                <a:cubicBezTo>
                  <a:pt x="3226" y="418"/>
                  <a:pt x="3190" y="433"/>
                  <a:pt x="3153" y="436"/>
                </a:cubicBezTo>
                <a:cubicBezTo>
                  <a:pt x="3117" y="438"/>
                  <a:pt x="3169" y="425"/>
                  <a:pt x="3205" y="413"/>
                </a:cubicBezTo>
                <a:cubicBezTo>
                  <a:pt x="3243" y="401"/>
                  <a:pt x="3186" y="399"/>
                  <a:pt x="3186" y="399"/>
                </a:cubicBezTo>
                <a:cubicBezTo>
                  <a:pt x="3146" y="411"/>
                  <a:pt x="3146" y="411"/>
                  <a:pt x="3146" y="411"/>
                </a:cubicBezTo>
                <a:cubicBezTo>
                  <a:pt x="3118" y="414"/>
                  <a:pt x="3118" y="414"/>
                  <a:pt x="3118" y="414"/>
                </a:cubicBezTo>
                <a:cubicBezTo>
                  <a:pt x="3118" y="414"/>
                  <a:pt x="3133" y="404"/>
                  <a:pt x="3149" y="393"/>
                </a:cubicBezTo>
                <a:cubicBezTo>
                  <a:pt x="3164" y="382"/>
                  <a:pt x="3145" y="384"/>
                  <a:pt x="3145" y="384"/>
                </a:cubicBezTo>
                <a:cubicBezTo>
                  <a:pt x="3046" y="415"/>
                  <a:pt x="3046" y="415"/>
                  <a:pt x="3046" y="415"/>
                </a:cubicBezTo>
                <a:cubicBezTo>
                  <a:pt x="3032" y="416"/>
                  <a:pt x="3032" y="416"/>
                  <a:pt x="3032" y="416"/>
                </a:cubicBezTo>
                <a:cubicBezTo>
                  <a:pt x="2976" y="433"/>
                  <a:pt x="2976" y="433"/>
                  <a:pt x="2976" y="433"/>
                </a:cubicBezTo>
                <a:cubicBezTo>
                  <a:pt x="2978" y="441"/>
                  <a:pt x="2978" y="441"/>
                  <a:pt x="2978" y="441"/>
                </a:cubicBezTo>
                <a:cubicBezTo>
                  <a:pt x="2938" y="456"/>
                  <a:pt x="2938" y="456"/>
                  <a:pt x="2938" y="456"/>
                </a:cubicBezTo>
                <a:cubicBezTo>
                  <a:pt x="2929" y="466"/>
                  <a:pt x="2929" y="466"/>
                  <a:pt x="2929" y="466"/>
                </a:cubicBezTo>
                <a:cubicBezTo>
                  <a:pt x="2947" y="474"/>
                  <a:pt x="2947" y="474"/>
                  <a:pt x="2947" y="474"/>
                </a:cubicBezTo>
                <a:cubicBezTo>
                  <a:pt x="2947" y="474"/>
                  <a:pt x="2969" y="459"/>
                  <a:pt x="2974" y="471"/>
                </a:cubicBezTo>
                <a:cubicBezTo>
                  <a:pt x="2979" y="483"/>
                  <a:pt x="2933" y="477"/>
                  <a:pt x="2922" y="496"/>
                </a:cubicBezTo>
                <a:cubicBezTo>
                  <a:pt x="2910" y="516"/>
                  <a:pt x="3069" y="497"/>
                  <a:pt x="3047" y="515"/>
                </a:cubicBezTo>
                <a:cubicBezTo>
                  <a:pt x="3026" y="532"/>
                  <a:pt x="2899" y="521"/>
                  <a:pt x="2888" y="538"/>
                </a:cubicBezTo>
                <a:cubicBezTo>
                  <a:pt x="2877" y="555"/>
                  <a:pt x="2909" y="553"/>
                  <a:pt x="2932" y="565"/>
                </a:cubicBezTo>
                <a:cubicBezTo>
                  <a:pt x="2955" y="577"/>
                  <a:pt x="2920" y="570"/>
                  <a:pt x="2916" y="587"/>
                </a:cubicBezTo>
                <a:cubicBezTo>
                  <a:pt x="2912" y="603"/>
                  <a:pt x="3015" y="595"/>
                  <a:pt x="3015" y="595"/>
                </a:cubicBezTo>
                <a:cubicBezTo>
                  <a:pt x="3015" y="595"/>
                  <a:pt x="3184" y="579"/>
                  <a:pt x="3223" y="567"/>
                </a:cubicBezTo>
                <a:cubicBezTo>
                  <a:pt x="3250" y="558"/>
                  <a:pt x="3301" y="596"/>
                  <a:pt x="3333" y="599"/>
                </a:cubicBezTo>
                <a:cubicBezTo>
                  <a:pt x="3366" y="601"/>
                  <a:pt x="3377" y="564"/>
                  <a:pt x="3377" y="564"/>
                </a:cubicBezTo>
                <a:cubicBezTo>
                  <a:pt x="3325" y="563"/>
                  <a:pt x="3325" y="563"/>
                  <a:pt x="3325" y="563"/>
                </a:cubicBezTo>
                <a:cubicBezTo>
                  <a:pt x="3347" y="546"/>
                  <a:pt x="3347" y="546"/>
                  <a:pt x="3347" y="546"/>
                </a:cubicBezTo>
                <a:cubicBezTo>
                  <a:pt x="3347" y="546"/>
                  <a:pt x="3379" y="552"/>
                  <a:pt x="3411" y="545"/>
                </a:cubicBezTo>
                <a:cubicBezTo>
                  <a:pt x="3444" y="538"/>
                  <a:pt x="3413" y="519"/>
                  <a:pt x="3411" y="512"/>
                </a:cubicBezTo>
                <a:close/>
                <a:moveTo>
                  <a:pt x="3970" y="239"/>
                </a:moveTo>
                <a:cubicBezTo>
                  <a:pt x="3966" y="239"/>
                  <a:pt x="3958" y="235"/>
                  <a:pt x="3958" y="235"/>
                </a:cubicBezTo>
                <a:cubicBezTo>
                  <a:pt x="3958" y="235"/>
                  <a:pt x="3898" y="235"/>
                  <a:pt x="3898" y="243"/>
                </a:cubicBezTo>
                <a:cubicBezTo>
                  <a:pt x="3898" y="252"/>
                  <a:pt x="3917" y="254"/>
                  <a:pt x="3917" y="254"/>
                </a:cubicBezTo>
                <a:cubicBezTo>
                  <a:pt x="3918" y="266"/>
                  <a:pt x="3918" y="266"/>
                  <a:pt x="3918" y="266"/>
                </a:cubicBezTo>
                <a:cubicBezTo>
                  <a:pt x="3918" y="266"/>
                  <a:pt x="3968" y="271"/>
                  <a:pt x="3972" y="269"/>
                </a:cubicBezTo>
                <a:cubicBezTo>
                  <a:pt x="3976" y="267"/>
                  <a:pt x="3988" y="268"/>
                  <a:pt x="3994" y="268"/>
                </a:cubicBezTo>
                <a:cubicBezTo>
                  <a:pt x="3992" y="276"/>
                  <a:pt x="3990" y="287"/>
                  <a:pt x="3990" y="287"/>
                </a:cubicBezTo>
                <a:cubicBezTo>
                  <a:pt x="3953" y="314"/>
                  <a:pt x="3953" y="314"/>
                  <a:pt x="3953" y="314"/>
                </a:cubicBezTo>
                <a:cubicBezTo>
                  <a:pt x="3967" y="320"/>
                  <a:pt x="3967" y="320"/>
                  <a:pt x="3967" y="320"/>
                </a:cubicBezTo>
                <a:cubicBezTo>
                  <a:pt x="3967" y="320"/>
                  <a:pt x="3943" y="335"/>
                  <a:pt x="3955" y="335"/>
                </a:cubicBezTo>
                <a:cubicBezTo>
                  <a:pt x="3967" y="335"/>
                  <a:pt x="3985" y="325"/>
                  <a:pt x="3985" y="325"/>
                </a:cubicBezTo>
                <a:cubicBezTo>
                  <a:pt x="3985" y="325"/>
                  <a:pt x="3976" y="338"/>
                  <a:pt x="3995" y="337"/>
                </a:cubicBezTo>
                <a:cubicBezTo>
                  <a:pt x="4014" y="336"/>
                  <a:pt x="4050" y="324"/>
                  <a:pt x="4050" y="324"/>
                </a:cubicBezTo>
                <a:cubicBezTo>
                  <a:pt x="4051" y="338"/>
                  <a:pt x="4051" y="338"/>
                  <a:pt x="4051" y="338"/>
                </a:cubicBezTo>
                <a:cubicBezTo>
                  <a:pt x="4096" y="335"/>
                  <a:pt x="4096" y="335"/>
                  <a:pt x="4096" y="335"/>
                </a:cubicBezTo>
                <a:cubicBezTo>
                  <a:pt x="4149" y="345"/>
                  <a:pt x="4149" y="345"/>
                  <a:pt x="4149" y="345"/>
                </a:cubicBezTo>
                <a:cubicBezTo>
                  <a:pt x="4213" y="340"/>
                  <a:pt x="4213" y="340"/>
                  <a:pt x="4213" y="340"/>
                </a:cubicBezTo>
                <a:cubicBezTo>
                  <a:pt x="4231" y="325"/>
                  <a:pt x="4231" y="325"/>
                  <a:pt x="4231" y="325"/>
                </a:cubicBezTo>
                <a:cubicBezTo>
                  <a:pt x="4231" y="325"/>
                  <a:pt x="4220" y="339"/>
                  <a:pt x="4233" y="340"/>
                </a:cubicBezTo>
                <a:cubicBezTo>
                  <a:pt x="4246" y="341"/>
                  <a:pt x="4321" y="339"/>
                  <a:pt x="4321" y="339"/>
                </a:cubicBezTo>
                <a:cubicBezTo>
                  <a:pt x="4328" y="325"/>
                  <a:pt x="4328" y="325"/>
                  <a:pt x="4328" y="325"/>
                </a:cubicBezTo>
                <a:cubicBezTo>
                  <a:pt x="4372" y="307"/>
                  <a:pt x="4372" y="307"/>
                  <a:pt x="4372" y="307"/>
                </a:cubicBezTo>
                <a:cubicBezTo>
                  <a:pt x="4361" y="303"/>
                  <a:pt x="4361" y="303"/>
                  <a:pt x="4361" y="303"/>
                </a:cubicBezTo>
                <a:cubicBezTo>
                  <a:pt x="4361" y="294"/>
                  <a:pt x="4361" y="294"/>
                  <a:pt x="4361" y="294"/>
                </a:cubicBezTo>
                <a:cubicBezTo>
                  <a:pt x="4361" y="294"/>
                  <a:pt x="4316" y="283"/>
                  <a:pt x="4300" y="283"/>
                </a:cubicBezTo>
                <a:cubicBezTo>
                  <a:pt x="4284" y="283"/>
                  <a:pt x="4163" y="307"/>
                  <a:pt x="4163" y="307"/>
                </a:cubicBezTo>
                <a:cubicBezTo>
                  <a:pt x="4163" y="307"/>
                  <a:pt x="4148" y="296"/>
                  <a:pt x="4140" y="295"/>
                </a:cubicBezTo>
                <a:cubicBezTo>
                  <a:pt x="4133" y="294"/>
                  <a:pt x="4103" y="307"/>
                  <a:pt x="4103" y="307"/>
                </a:cubicBezTo>
                <a:cubicBezTo>
                  <a:pt x="4090" y="293"/>
                  <a:pt x="4090" y="293"/>
                  <a:pt x="4090" y="293"/>
                </a:cubicBezTo>
                <a:cubicBezTo>
                  <a:pt x="4078" y="299"/>
                  <a:pt x="4078" y="299"/>
                  <a:pt x="4078" y="299"/>
                </a:cubicBezTo>
                <a:cubicBezTo>
                  <a:pt x="4056" y="295"/>
                  <a:pt x="4056" y="295"/>
                  <a:pt x="4056" y="295"/>
                </a:cubicBezTo>
                <a:cubicBezTo>
                  <a:pt x="4078" y="287"/>
                  <a:pt x="4078" y="287"/>
                  <a:pt x="4078" y="287"/>
                </a:cubicBezTo>
                <a:cubicBezTo>
                  <a:pt x="4065" y="281"/>
                  <a:pt x="4065" y="281"/>
                  <a:pt x="4065" y="281"/>
                </a:cubicBezTo>
                <a:cubicBezTo>
                  <a:pt x="4028" y="285"/>
                  <a:pt x="4028" y="285"/>
                  <a:pt x="4028" y="285"/>
                </a:cubicBezTo>
                <a:cubicBezTo>
                  <a:pt x="4052" y="278"/>
                  <a:pt x="4052" y="278"/>
                  <a:pt x="4052" y="278"/>
                </a:cubicBezTo>
                <a:cubicBezTo>
                  <a:pt x="4051" y="273"/>
                  <a:pt x="4051" y="273"/>
                  <a:pt x="4051" y="273"/>
                </a:cubicBezTo>
                <a:cubicBezTo>
                  <a:pt x="4097" y="272"/>
                  <a:pt x="4097" y="272"/>
                  <a:pt x="4097" y="272"/>
                </a:cubicBezTo>
                <a:cubicBezTo>
                  <a:pt x="4074" y="264"/>
                  <a:pt x="4074" y="264"/>
                  <a:pt x="4074" y="264"/>
                </a:cubicBezTo>
                <a:cubicBezTo>
                  <a:pt x="4058" y="264"/>
                  <a:pt x="4058" y="264"/>
                  <a:pt x="4058" y="264"/>
                </a:cubicBezTo>
                <a:cubicBezTo>
                  <a:pt x="4058" y="264"/>
                  <a:pt x="4070" y="254"/>
                  <a:pt x="4060" y="253"/>
                </a:cubicBezTo>
                <a:cubicBezTo>
                  <a:pt x="4052" y="252"/>
                  <a:pt x="4021" y="254"/>
                  <a:pt x="4005" y="257"/>
                </a:cubicBezTo>
                <a:cubicBezTo>
                  <a:pt x="4003" y="250"/>
                  <a:pt x="3974" y="239"/>
                  <a:pt x="3970" y="239"/>
                </a:cubicBezTo>
                <a:close/>
                <a:moveTo>
                  <a:pt x="4116" y="136"/>
                </a:moveTo>
                <a:cubicBezTo>
                  <a:pt x="4080" y="144"/>
                  <a:pt x="4080" y="144"/>
                  <a:pt x="4080" y="144"/>
                </a:cubicBezTo>
                <a:cubicBezTo>
                  <a:pt x="4105" y="155"/>
                  <a:pt x="4105" y="155"/>
                  <a:pt x="4105" y="155"/>
                </a:cubicBezTo>
                <a:cubicBezTo>
                  <a:pt x="4105" y="155"/>
                  <a:pt x="4091" y="159"/>
                  <a:pt x="4093" y="169"/>
                </a:cubicBezTo>
                <a:cubicBezTo>
                  <a:pt x="4095" y="178"/>
                  <a:pt x="4122" y="175"/>
                  <a:pt x="4122" y="175"/>
                </a:cubicBezTo>
                <a:cubicBezTo>
                  <a:pt x="4109" y="184"/>
                  <a:pt x="4109" y="184"/>
                  <a:pt x="4109" y="184"/>
                </a:cubicBezTo>
                <a:cubicBezTo>
                  <a:pt x="4109" y="184"/>
                  <a:pt x="4127" y="188"/>
                  <a:pt x="4141" y="197"/>
                </a:cubicBezTo>
                <a:cubicBezTo>
                  <a:pt x="4155" y="205"/>
                  <a:pt x="4180" y="185"/>
                  <a:pt x="4180" y="185"/>
                </a:cubicBezTo>
                <a:cubicBezTo>
                  <a:pt x="4196" y="177"/>
                  <a:pt x="4196" y="177"/>
                  <a:pt x="4196" y="177"/>
                </a:cubicBezTo>
                <a:cubicBezTo>
                  <a:pt x="4196" y="177"/>
                  <a:pt x="4201" y="183"/>
                  <a:pt x="4207" y="194"/>
                </a:cubicBezTo>
                <a:cubicBezTo>
                  <a:pt x="4214" y="204"/>
                  <a:pt x="4238" y="186"/>
                  <a:pt x="4247" y="184"/>
                </a:cubicBezTo>
                <a:cubicBezTo>
                  <a:pt x="4256" y="182"/>
                  <a:pt x="4269" y="168"/>
                  <a:pt x="4269" y="168"/>
                </a:cubicBezTo>
                <a:cubicBezTo>
                  <a:pt x="4277" y="177"/>
                  <a:pt x="4277" y="177"/>
                  <a:pt x="4277" y="177"/>
                </a:cubicBezTo>
                <a:cubicBezTo>
                  <a:pt x="4277" y="177"/>
                  <a:pt x="4290" y="164"/>
                  <a:pt x="4292" y="159"/>
                </a:cubicBezTo>
                <a:cubicBezTo>
                  <a:pt x="4294" y="154"/>
                  <a:pt x="4347" y="156"/>
                  <a:pt x="4359" y="156"/>
                </a:cubicBezTo>
                <a:cubicBezTo>
                  <a:pt x="4371" y="156"/>
                  <a:pt x="4368" y="142"/>
                  <a:pt x="4368" y="142"/>
                </a:cubicBezTo>
                <a:cubicBezTo>
                  <a:pt x="4326" y="141"/>
                  <a:pt x="4326" y="141"/>
                  <a:pt x="4326" y="141"/>
                </a:cubicBezTo>
                <a:cubicBezTo>
                  <a:pt x="4346" y="130"/>
                  <a:pt x="4346" y="130"/>
                  <a:pt x="4346" y="130"/>
                </a:cubicBezTo>
                <a:cubicBezTo>
                  <a:pt x="4346" y="130"/>
                  <a:pt x="4354" y="110"/>
                  <a:pt x="4349" y="103"/>
                </a:cubicBezTo>
                <a:cubicBezTo>
                  <a:pt x="4345" y="97"/>
                  <a:pt x="4311" y="115"/>
                  <a:pt x="4311" y="115"/>
                </a:cubicBezTo>
                <a:cubicBezTo>
                  <a:pt x="4308" y="98"/>
                  <a:pt x="4308" y="98"/>
                  <a:pt x="4308" y="98"/>
                </a:cubicBezTo>
                <a:cubicBezTo>
                  <a:pt x="4276" y="104"/>
                  <a:pt x="4276" y="104"/>
                  <a:pt x="4276" y="104"/>
                </a:cubicBezTo>
                <a:cubicBezTo>
                  <a:pt x="4276" y="104"/>
                  <a:pt x="4273" y="84"/>
                  <a:pt x="4263" y="73"/>
                </a:cubicBezTo>
                <a:cubicBezTo>
                  <a:pt x="4254" y="62"/>
                  <a:pt x="4212" y="85"/>
                  <a:pt x="4212" y="85"/>
                </a:cubicBezTo>
                <a:cubicBezTo>
                  <a:pt x="4160" y="88"/>
                  <a:pt x="4160" y="88"/>
                  <a:pt x="4160" y="88"/>
                </a:cubicBezTo>
                <a:cubicBezTo>
                  <a:pt x="4177" y="101"/>
                  <a:pt x="4177" y="101"/>
                  <a:pt x="4177" y="101"/>
                </a:cubicBezTo>
                <a:cubicBezTo>
                  <a:pt x="4177" y="101"/>
                  <a:pt x="4140" y="98"/>
                  <a:pt x="4127" y="102"/>
                </a:cubicBezTo>
                <a:cubicBezTo>
                  <a:pt x="4115" y="106"/>
                  <a:pt x="4135" y="119"/>
                  <a:pt x="4135" y="119"/>
                </a:cubicBezTo>
                <a:cubicBezTo>
                  <a:pt x="4135" y="119"/>
                  <a:pt x="4078" y="113"/>
                  <a:pt x="4074" y="127"/>
                </a:cubicBezTo>
                <a:cubicBezTo>
                  <a:pt x="4069" y="141"/>
                  <a:pt x="4116" y="136"/>
                  <a:pt x="4116" y="136"/>
                </a:cubicBezTo>
                <a:close/>
                <a:moveTo>
                  <a:pt x="4126" y="212"/>
                </a:moveTo>
                <a:cubicBezTo>
                  <a:pt x="4104" y="216"/>
                  <a:pt x="4104" y="226"/>
                  <a:pt x="4104" y="226"/>
                </a:cubicBezTo>
                <a:cubicBezTo>
                  <a:pt x="4122" y="229"/>
                  <a:pt x="4122" y="229"/>
                  <a:pt x="4122" y="229"/>
                </a:cubicBezTo>
                <a:cubicBezTo>
                  <a:pt x="4137" y="229"/>
                  <a:pt x="4149" y="208"/>
                  <a:pt x="4126" y="212"/>
                </a:cubicBezTo>
                <a:close/>
                <a:moveTo>
                  <a:pt x="3959" y="205"/>
                </a:moveTo>
                <a:cubicBezTo>
                  <a:pt x="3969" y="208"/>
                  <a:pt x="3972" y="218"/>
                  <a:pt x="3972" y="218"/>
                </a:cubicBezTo>
                <a:cubicBezTo>
                  <a:pt x="3972" y="218"/>
                  <a:pt x="4014" y="215"/>
                  <a:pt x="4034" y="214"/>
                </a:cubicBezTo>
                <a:cubicBezTo>
                  <a:pt x="4053" y="213"/>
                  <a:pt x="4010" y="202"/>
                  <a:pt x="4010" y="202"/>
                </a:cubicBezTo>
                <a:cubicBezTo>
                  <a:pt x="4010" y="202"/>
                  <a:pt x="4019" y="192"/>
                  <a:pt x="4029" y="190"/>
                </a:cubicBezTo>
                <a:cubicBezTo>
                  <a:pt x="4040" y="188"/>
                  <a:pt x="4000" y="175"/>
                  <a:pt x="3970" y="169"/>
                </a:cubicBezTo>
                <a:cubicBezTo>
                  <a:pt x="3970" y="169"/>
                  <a:pt x="3946" y="173"/>
                  <a:pt x="3942" y="177"/>
                </a:cubicBezTo>
                <a:cubicBezTo>
                  <a:pt x="3938" y="182"/>
                  <a:pt x="3950" y="203"/>
                  <a:pt x="3959" y="205"/>
                </a:cubicBezTo>
                <a:close/>
                <a:moveTo>
                  <a:pt x="3655" y="294"/>
                </a:moveTo>
                <a:cubicBezTo>
                  <a:pt x="3664" y="294"/>
                  <a:pt x="3708" y="301"/>
                  <a:pt x="3708" y="301"/>
                </a:cubicBezTo>
                <a:cubicBezTo>
                  <a:pt x="3708" y="301"/>
                  <a:pt x="3684" y="321"/>
                  <a:pt x="3699" y="321"/>
                </a:cubicBezTo>
                <a:cubicBezTo>
                  <a:pt x="3714" y="321"/>
                  <a:pt x="3752" y="321"/>
                  <a:pt x="3752" y="321"/>
                </a:cubicBezTo>
                <a:cubicBezTo>
                  <a:pt x="3766" y="321"/>
                  <a:pt x="3791" y="315"/>
                  <a:pt x="3787" y="307"/>
                </a:cubicBezTo>
                <a:cubicBezTo>
                  <a:pt x="3783" y="298"/>
                  <a:pt x="3823" y="295"/>
                  <a:pt x="3821" y="286"/>
                </a:cubicBezTo>
                <a:cubicBezTo>
                  <a:pt x="3820" y="278"/>
                  <a:pt x="3858" y="272"/>
                  <a:pt x="3844" y="260"/>
                </a:cubicBezTo>
                <a:cubicBezTo>
                  <a:pt x="3830" y="249"/>
                  <a:pt x="3811" y="257"/>
                  <a:pt x="3811" y="257"/>
                </a:cubicBezTo>
                <a:cubicBezTo>
                  <a:pt x="3811" y="257"/>
                  <a:pt x="3764" y="242"/>
                  <a:pt x="3761" y="251"/>
                </a:cubicBezTo>
                <a:cubicBezTo>
                  <a:pt x="3758" y="259"/>
                  <a:pt x="3758" y="280"/>
                  <a:pt x="3758" y="280"/>
                </a:cubicBezTo>
                <a:cubicBezTo>
                  <a:pt x="3758" y="280"/>
                  <a:pt x="3737" y="255"/>
                  <a:pt x="3726" y="264"/>
                </a:cubicBezTo>
                <a:cubicBezTo>
                  <a:pt x="3714" y="272"/>
                  <a:pt x="3704" y="296"/>
                  <a:pt x="3695" y="289"/>
                </a:cubicBezTo>
                <a:cubicBezTo>
                  <a:pt x="3687" y="283"/>
                  <a:pt x="3682" y="258"/>
                  <a:pt x="3673" y="256"/>
                </a:cubicBezTo>
                <a:cubicBezTo>
                  <a:pt x="3663" y="254"/>
                  <a:pt x="3637" y="256"/>
                  <a:pt x="3638" y="269"/>
                </a:cubicBezTo>
                <a:cubicBezTo>
                  <a:pt x="3639" y="282"/>
                  <a:pt x="3647" y="294"/>
                  <a:pt x="3655" y="294"/>
                </a:cubicBezTo>
                <a:close/>
                <a:moveTo>
                  <a:pt x="3789" y="168"/>
                </a:moveTo>
                <a:cubicBezTo>
                  <a:pt x="3789" y="168"/>
                  <a:pt x="3771" y="185"/>
                  <a:pt x="3785" y="186"/>
                </a:cubicBezTo>
                <a:cubicBezTo>
                  <a:pt x="3799" y="187"/>
                  <a:pt x="3831" y="188"/>
                  <a:pt x="3831" y="188"/>
                </a:cubicBezTo>
                <a:cubicBezTo>
                  <a:pt x="3831" y="188"/>
                  <a:pt x="3845" y="204"/>
                  <a:pt x="3862" y="204"/>
                </a:cubicBezTo>
                <a:cubicBezTo>
                  <a:pt x="3880" y="204"/>
                  <a:pt x="3893" y="190"/>
                  <a:pt x="3893" y="190"/>
                </a:cubicBezTo>
                <a:cubicBezTo>
                  <a:pt x="3884" y="182"/>
                  <a:pt x="3884" y="182"/>
                  <a:pt x="3884" y="182"/>
                </a:cubicBezTo>
                <a:cubicBezTo>
                  <a:pt x="3905" y="178"/>
                  <a:pt x="3905" y="178"/>
                  <a:pt x="3905" y="178"/>
                </a:cubicBezTo>
                <a:cubicBezTo>
                  <a:pt x="3875" y="156"/>
                  <a:pt x="3875" y="156"/>
                  <a:pt x="3875" y="156"/>
                </a:cubicBezTo>
                <a:cubicBezTo>
                  <a:pt x="3847" y="160"/>
                  <a:pt x="3847" y="160"/>
                  <a:pt x="3847" y="160"/>
                </a:cubicBezTo>
                <a:cubicBezTo>
                  <a:pt x="3837" y="145"/>
                  <a:pt x="3837" y="145"/>
                  <a:pt x="3837" y="145"/>
                </a:cubicBezTo>
                <a:cubicBezTo>
                  <a:pt x="3818" y="145"/>
                  <a:pt x="3818" y="145"/>
                  <a:pt x="3818" y="145"/>
                </a:cubicBezTo>
                <a:cubicBezTo>
                  <a:pt x="3796" y="145"/>
                  <a:pt x="3761" y="145"/>
                  <a:pt x="3760" y="157"/>
                </a:cubicBezTo>
                <a:cubicBezTo>
                  <a:pt x="3759" y="169"/>
                  <a:pt x="3789" y="168"/>
                  <a:pt x="3789" y="168"/>
                </a:cubicBezTo>
                <a:close/>
                <a:moveTo>
                  <a:pt x="3670" y="352"/>
                </a:moveTo>
                <a:cubicBezTo>
                  <a:pt x="3670" y="352"/>
                  <a:pt x="3609" y="354"/>
                  <a:pt x="3575" y="365"/>
                </a:cubicBezTo>
                <a:cubicBezTo>
                  <a:pt x="3542" y="376"/>
                  <a:pt x="3594" y="385"/>
                  <a:pt x="3583" y="398"/>
                </a:cubicBezTo>
                <a:cubicBezTo>
                  <a:pt x="3572" y="412"/>
                  <a:pt x="3550" y="377"/>
                  <a:pt x="3512" y="393"/>
                </a:cubicBezTo>
                <a:cubicBezTo>
                  <a:pt x="3524" y="418"/>
                  <a:pt x="3524" y="418"/>
                  <a:pt x="3524" y="418"/>
                </a:cubicBezTo>
                <a:cubicBezTo>
                  <a:pt x="3524" y="418"/>
                  <a:pt x="3530" y="428"/>
                  <a:pt x="3547" y="431"/>
                </a:cubicBezTo>
                <a:cubicBezTo>
                  <a:pt x="3565" y="434"/>
                  <a:pt x="3564" y="469"/>
                  <a:pt x="3564" y="469"/>
                </a:cubicBezTo>
                <a:cubicBezTo>
                  <a:pt x="3564" y="469"/>
                  <a:pt x="3634" y="460"/>
                  <a:pt x="3656" y="455"/>
                </a:cubicBezTo>
                <a:cubicBezTo>
                  <a:pt x="3678" y="449"/>
                  <a:pt x="3678" y="408"/>
                  <a:pt x="3678" y="408"/>
                </a:cubicBezTo>
                <a:cubicBezTo>
                  <a:pt x="3634" y="398"/>
                  <a:pt x="3634" y="398"/>
                  <a:pt x="3634" y="398"/>
                </a:cubicBezTo>
                <a:cubicBezTo>
                  <a:pt x="3634" y="398"/>
                  <a:pt x="3687" y="380"/>
                  <a:pt x="3714" y="371"/>
                </a:cubicBezTo>
                <a:cubicBezTo>
                  <a:pt x="3740" y="361"/>
                  <a:pt x="3670" y="352"/>
                  <a:pt x="3670" y="352"/>
                </a:cubicBezTo>
                <a:close/>
                <a:moveTo>
                  <a:pt x="3665" y="237"/>
                </a:moveTo>
                <a:cubicBezTo>
                  <a:pt x="3683" y="234"/>
                  <a:pt x="3684" y="206"/>
                  <a:pt x="3669" y="206"/>
                </a:cubicBezTo>
                <a:cubicBezTo>
                  <a:pt x="3655" y="206"/>
                  <a:pt x="3648" y="239"/>
                  <a:pt x="3665" y="237"/>
                </a:cubicBezTo>
                <a:close/>
                <a:moveTo>
                  <a:pt x="953" y="1088"/>
                </a:moveTo>
                <a:cubicBezTo>
                  <a:pt x="940" y="1097"/>
                  <a:pt x="916" y="1102"/>
                  <a:pt x="923" y="1109"/>
                </a:cubicBezTo>
                <a:cubicBezTo>
                  <a:pt x="934" y="1120"/>
                  <a:pt x="959" y="1108"/>
                  <a:pt x="959" y="1108"/>
                </a:cubicBezTo>
                <a:cubicBezTo>
                  <a:pt x="966" y="1099"/>
                  <a:pt x="966" y="1099"/>
                  <a:pt x="966" y="1099"/>
                </a:cubicBezTo>
                <a:cubicBezTo>
                  <a:pt x="966" y="1099"/>
                  <a:pt x="982" y="1103"/>
                  <a:pt x="979" y="1097"/>
                </a:cubicBezTo>
                <a:cubicBezTo>
                  <a:pt x="977" y="1091"/>
                  <a:pt x="967" y="1079"/>
                  <a:pt x="953" y="1088"/>
                </a:cubicBezTo>
                <a:close/>
                <a:moveTo>
                  <a:pt x="3669" y="3211"/>
                </a:moveTo>
                <a:cubicBezTo>
                  <a:pt x="3661" y="3211"/>
                  <a:pt x="3638" y="3202"/>
                  <a:pt x="3624" y="3202"/>
                </a:cubicBezTo>
                <a:cubicBezTo>
                  <a:pt x="3609" y="3202"/>
                  <a:pt x="3611" y="3234"/>
                  <a:pt x="3611" y="3234"/>
                </a:cubicBezTo>
                <a:cubicBezTo>
                  <a:pt x="3636" y="3242"/>
                  <a:pt x="3636" y="3242"/>
                  <a:pt x="3636" y="3242"/>
                </a:cubicBezTo>
                <a:cubicBezTo>
                  <a:pt x="3642" y="3236"/>
                  <a:pt x="3642" y="3236"/>
                  <a:pt x="3642" y="3236"/>
                </a:cubicBezTo>
                <a:cubicBezTo>
                  <a:pt x="3642" y="3236"/>
                  <a:pt x="3657" y="3238"/>
                  <a:pt x="3673" y="3236"/>
                </a:cubicBezTo>
                <a:cubicBezTo>
                  <a:pt x="3690" y="3234"/>
                  <a:pt x="3706" y="3219"/>
                  <a:pt x="3704" y="3212"/>
                </a:cubicBezTo>
                <a:cubicBezTo>
                  <a:pt x="3702" y="3204"/>
                  <a:pt x="3677" y="3212"/>
                  <a:pt x="3669" y="3211"/>
                </a:cubicBezTo>
                <a:close/>
                <a:moveTo>
                  <a:pt x="3547" y="3213"/>
                </a:moveTo>
                <a:cubicBezTo>
                  <a:pt x="3558" y="3207"/>
                  <a:pt x="3551" y="3192"/>
                  <a:pt x="3551" y="3192"/>
                </a:cubicBezTo>
                <a:cubicBezTo>
                  <a:pt x="3551" y="3192"/>
                  <a:pt x="3529" y="3173"/>
                  <a:pt x="3514" y="3167"/>
                </a:cubicBezTo>
                <a:cubicBezTo>
                  <a:pt x="3500" y="3162"/>
                  <a:pt x="3494" y="3160"/>
                  <a:pt x="3483" y="3156"/>
                </a:cubicBezTo>
                <a:cubicBezTo>
                  <a:pt x="3473" y="3152"/>
                  <a:pt x="3467" y="3133"/>
                  <a:pt x="3461" y="3129"/>
                </a:cubicBezTo>
                <a:cubicBezTo>
                  <a:pt x="3455" y="3126"/>
                  <a:pt x="3432" y="3124"/>
                  <a:pt x="3415" y="3124"/>
                </a:cubicBezTo>
                <a:cubicBezTo>
                  <a:pt x="3408" y="3124"/>
                  <a:pt x="3404" y="3126"/>
                  <a:pt x="3401" y="3128"/>
                </a:cubicBezTo>
                <a:cubicBezTo>
                  <a:pt x="3396" y="3131"/>
                  <a:pt x="3395" y="3135"/>
                  <a:pt x="3395" y="3135"/>
                </a:cubicBezTo>
                <a:cubicBezTo>
                  <a:pt x="3395" y="3135"/>
                  <a:pt x="3360" y="3123"/>
                  <a:pt x="3345" y="3123"/>
                </a:cubicBezTo>
                <a:cubicBezTo>
                  <a:pt x="3331" y="3123"/>
                  <a:pt x="3324" y="3125"/>
                  <a:pt x="3318" y="3133"/>
                </a:cubicBezTo>
                <a:cubicBezTo>
                  <a:pt x="3312" y="3140"/>
                  <a:pt x="3337" y="3140"/>
                  <a:pt x="3343" y="3140"/>
                </a:cubicBezTo>
                <a:cubicBezTo>
                  <a:pt x="3349" y="3140"/>
                  <a:pt x="3362" y="3154"/>
                  <a:pt x="3362" y="3154"/>
                </a:cubicBezTo>
                <a:cubicBezTo>
                  <a:pt x="3362" y="3154"/>
                  <a:pt x="3347" y="3157"/>
                  <a:pt x="3349" y="3172"/>
                </a:cubicBezTo>
                <a:cubicBezTo>
                  <a:pt x="3351" y="3188"/>
                  <a:pt x="3359" y="3193"/>
                  <a:pt x="3347" y="3193"/>
                </a:cubicBezTo>
                <a:cubicBezTo>
                  <a:pt x="3334" y="3193"/>
                  <a:pt x="3314" y="3186"/>
                  <a:pt x="3306" y="3187"/>
                </a:cubicBezTo>
                <a:cubicBezTo>
                  <a:pt x="3297" y="3189"/>
                  <a:pt x="3281" y="3185"/>
                  <a:pt x="3275" y="3195"/>
                </a:cubicBezTo>
                <a:cubicBezTo>
                  <a:pt x="3275" y="3195"/>
                  <a:pt x="3293" y="3221"/>
                  <a:pt x="3301" y="3225"/>
                </a:cubicBezTo>
                <a:cubicBezTo>
                  <a:pt x="3310" y="3229"/>
                  <a:pt x="3318" y="3210"/>
                  <a:pt x="3318" y="3210"/>
                </a:cubicBezTo>
                <a:cubicBezTo>
                  <a:pt x="3318" y="3210"/>
                  <a:pt x="3332" y="3212"/>
                  <a:pt x="3349" y="3212"/>
                </a:cubicBezTo>
                <a:cubicBezTo>
                  <a:pt x="3365" y="3212"/>
                  <a:pt x="3386" y="3208"/>
                  <a:pt x="3386" y="3208"/>
                </a:cubicBezTo>
                <a:cubicBezTo>
                  <a:pt x="3409" y="3235"/>
                  <a:pt x="3409" y="3235"/>
                  <a:pt x="3409" y="3235"/>
                </a:cubicBezTo>
                <a:cubicBezTo>
                  <a:pt x="3442" y="3211"/>
                  <a:pt x="3442" y="3211"/>
                  <a:pt x="3442" y="3211"/>
                </a:cubicBezTo>
                <a:cubicBezTo>
                  <a:pt x="3442" y="3211"/>
                  <a:pt x="3471" y="3211"/>
                  <a:pt x="3504" y="3213"/>
                </a:cubicBezTo>
                <a:cubicBezTo>
                  <a:pt x="3517" y="3214"/>
                  <a:pt x="3539" y="3217"/>
                  <a:pt x="3547" y="3213"/>
                </a:cubicBezTo>
                <a:close/>
                <a:moveTo>
                  <a:pt x="3233" y="3121"/>
                </a:moveTo>
                <a:cubicBezTo>
                  <a:pt x="3263" y="3113"/>
                  <a:pt x="3300" y="3106"/>
                  <a:pt x="3300" y="3106"/>
                </a:cubicBezTo>
                <a:cubicBezTo>
                  <a:pt x="3300" y="3106"/>
                  <a:pt x="3300" y="3096"/>
                  <a:pt x="3282" y="3094"/>
                </a:cubicBezTo>
                <a:cubicBezTo>
                  <a:pt x="3263" y="3091"/>
                  <a:pt x="3252" y="3091"/>
                  <a:pt x="3252" y="3091"/>
                </a:cubicBezTo>
                <a:cubicBezTo>
                  <a:pt x="3252" y="3091"/>
                  <a:pt x="3260" y="3074"/>
                  <a:pt x="3241" y="3072"/>
                </a:cubicBezTo>
                <a:cubicBezTo>
                  <a:pt x="3223" y="3069"/>
                  <a:pt x="3206" y="3071"/>
                  <a:pt x="3206" y="3071"/>
                </a:cubicBezTo>
                <a:cubicBezTo>
                  <a:pt x="3223" y="3057"/>
                  <a:pt x="3223" y="3057"/>
                  <a:pt x="3223" y="3057"/>
                </a:cubicBezTo>
                <a:cubicBezTo>
                  <a:pt x="3223" y="3057"/>
                  <a:pt x="3193" y="3049"/>
                  <a:pt x="3185" y="3049"/>
                </a:cubicBezTo>
                <a:cubicBezTo>
                  <a:pt x="3177" y="3049"/>
                  <a:pt x="3156" y="3039"/>
                  <a:pt x="3156" y="3039"/>
                </a:cubicBezTo>
                <a:cubicBezTo>
                  <a:pt x="3156" y="3039"/>
                  <a:pt x="3166" y="3022"/>
                  <a:pt x="3158" y="3022"/>
                </a:cubicBezTo>
                <a:cubicBezTo>
                  <a:pt x="3150" y="3022"/>
                  <a:pt x="3145" y="3020"/>
                  <a:pt x="3145" y="3020"/>
                </a:cubicBezTo>
                <a:cubicBezTo>
                  <a:pt x="3145" y="3020"/>
                  <a:pt x="3105" y="2980"/>
                  <a:pt x="3097" y="2988"/>
                </a:cubicBezTo>
                <a:cubicBezTo>
                  <a:pt x="3089" y="2995"/>
                  <a:pt x="3107" y="3007"/>
                  <a:pt x="3107" y="3007"/>
                </a:cubicBezTo>
                <a:cubicBezTo>
                  <a:pt x="3062" y="2985"/>
                  <a:pt x="3062" y="2985"/>
                  <a:pt x="3062" y="2985"/>
                </a:cubicBezTo>
                <a:cubicBezTo>
                  <a:pt x="3062" y="2985"/>
                  <a:pt x="3038" y="2960"/>
                  <a:pt x="3027" y="2955"/>
                </a:cubicBezTo>
                <a:cubicBezTo>
                  <a:pt x="3016" y="2950"/>
                  <a:pt x="2987" y="2955"/>
                  <a:pt x="2987" y="2955"/>
                </a:cubicBezTo>
                <a:cubicBezTo>
                  <a:pt x="2987" y="2955"/>
                  <a:pt x="2963" y="2943"/>
                  <a:pt x="2925" y="2943"/>
                </a:cubicBezTo>
                <a:cubicBezTo>
                  <a:pt x="2888" y="2943"/>
                  <a:pt x="2871" y="2955"/>
                  <a:pt x="2855" y="2969"/>
                </a:cubicBezTo>
                <a:cubicBezTo>
                  <a:pt x="2839" y="2984"/>
                  <a:pt x="2807" y="2994"/>
                  <a:pt x="2807" y="2994"/>
                </a:cubicBezTo>
                <a:cubicBezTo>
                  <a:pt x="2858" y="2992"/>
                  <a:pt x="2858" y="2992"/>
                  <a:pt x="2858" y="2992"/>
                </a:cubicBezTo>
                <a:cubicBezTo>
                  <a:pt x="2858" y="2982"/>
                  <a:pt x="2858" y="2982"/>
                  <a:pt x="2858" y="2982"/>
                </a:cubicBezTo>
                <a:cubicBezTo>
                  <a:pt x="2909" y="2979"/>
                  <a:pt x="2909" y="2979"/>
                  <a:pt x="2909" y="2979"/>
                </a:cubicBezTo>
                <a:cubicBezTo>
                  <a:pt x="2922" y="2972"/>
                  <a:pt x="2922" y="2972"/>
                  <a:pt x="2922" y="2972"/>
                </a:cubicBezTo>
                <a:cubicBezTo>
                  <a:pt x="2922" y="2972"/>
                  <a:pt x="2949" y="2970"/>
                  <a:pt x="2957" y="2977"/>
                </a:cubicBezTo>
                <a:cubicBezTo>
                  <a:pt x="2965" y="2985"/>
                  <a:pt x="2933" y="2989"/>
                  <a:pt x="2933" y="2989"/>
                </a:cubicBezTo>
                <a:cubicBezTo>
                  <a:pt x="2944" y="2997"/>
                  <a:pt x="2944" y="2997"/>
                  <a:pt x="2944" y="2997"/>
                </a:cubicBezTo>
                <a:cubicBezTo>
                  <a:pt x="2944" y="2997"/>
                  <a:pt x="2962" y="3004"/>
                  <a:pt x="2979" y="3009"/>
                </a:cubicBezTo>
                <a:cubicBezTo>
                  <a:pt x="2995" y="3014"/>
                  <a:pt x="2995" y="3004"/>
                  <a:pt x="2995" y="3004"/>
                </a:cubicBezTo>
                <a:cubicBezTo>
                  <a:pt x="2995" y="3004"/>
                  <a:pt x="3011" y="3017"/>
                  <a:pt x="3027" y="3024"/>
                </a:cubicBezTo>
                <a:cubicBezTo>
                  <a:pt x="3043" y="3032"/>
                  <a:pt x="3075" y="3022"/>
                  <a:pt x="3075" y="3022"/>
                </a:cubicBezTo>
                <a:cubicBezTo>
                  <a:pt x="3070" y="3039"/>
                  <a:pt x="3070" y="3039"/>
                  <a:pt x="3070" y="3039"/>
                </a:cubicBezTo>
                <a:cubicBezTo>
                  <a:pt x="3110" y="3056"/>
                  <a:pt x="3110" y="3056"/>
                  <a:pt x="3110" y="3056"/>
                </a:cubicBezTo>
                <a:cubicBezTo>
                  <a:pt x="3126" y="3079"/>
                  <a:pt x="3126" y="3079"/>
                  <a:pt x="3126" y="3079"/>
                </a:cubicBezTo>
                <a:cubicBezTo>
                  <a:pt x="3126" y="3079"/>
                  <a:pt x="3142" y="3086"/>
                  <a:pt x="3142" y="3093"/>
                </a:cubicBezTo>
                <a:cubicBezTo>
                  <a:pt x="3142" y="3101"/>
                  <a:pt x="3115" y="3108"/>
                  <a:pt x="3123" y="3115"/>
                </a:cubicBezTo>
                <a:cubicBezTo>
                  <a:pt x="3131" y="3123"/>
                  <a:pt x="3155" y="3106"/>
                  <a:pt x="3163" y="3106"/>
                </a:cubicBezTo>
                <a:cubicBezTo>
                  <a:pt x="3171" y="3106"/>
                  <a:pt x="3188" y="3108"/>
                  <a:pt x="3174" y="3111"/>
                </a:cubicBezTo>
                <a:cubicBezTo>
                  <a:pt x="3161" y="3113"/>
                  <a:pt x="3182" y="3123"/>
                  <a:pt x="3182" y="3123"/>
                </a:cubicBezTo>
                <a:cubicBezTo>
                  <a:pt x="3182" y="3123"/>
                  <a:pt x="3204" y="3128"/>
                  <a:pt x="3233" y="3121"/>
                </a:cubicBezTo>
                <a:close/>
                <a:moveTo>
                  <a:pt x="4442" y="898"/>
                </a:moveTo>
                <a:cubicBezTo>
                  <a:pt x="4465" y="895"/>
                  <a:pt x="4465" y="895"/>
                  <a:pt x="4465" y="895"/>
                </a:cubicBezTo>
                <a:cubicBezTo>
                  <a:pt x="4465" y="885"/>
                  <a:pt x="4465" y="885"/>
                  <a:pt x="4465" y="885"/>
                </a:cubicBezTo>
                <a:cubicBezTo>
                  <a:pt x="4445" y="889"/>
                  <a:pt x="4445" y="889"/>
                  <a:pt x="4445" y="889"/>
                </a:cubicBezTo>
                <a:lnTo>
                  <a:pt x="4442" y="898"/>
                </a:lnTo>
                <a:close/>
                <a:moveTo>
                  <a:pt x="3163" y="3208"/>
                </a:moveTo>
                <a:cubicBezTo>
                  <a:pt x="3153" y="3208"/>
                  <a:pt x="3136" y="3206"/>
                  <a:pt x="3126" y="3205"/>
                </a:cubicBezTo>
                <a:cubicBezTo>
                  <a:pt x="3115" y="3203"/>
                  <a:pt x="3105" y="3199"/>
                  <a:pt x="3097" y="3203"/>
                </a:cubicBezTo>
                <a:cubicBezTo>
                  <a:pt x="3089" y="3206"/>
                  <a:pt x="3078" y="3208"/>
                  <a:pt x="3078" y="3208"/>
                </a:cubicBezTo>
                <a:cubicBezTo>
                  <a:pt x="3078" y="3208"/>
                  <a:pt x="3086" y="3219"/>
                  <a:pt x="3095" y="3225"/>
                </a:cubicBezTo>
                <a:cubicBezTo>
                  <a:pt x="3103" y="3231"/>
                  <a:pt x="3121" y="3231"/>
                  <a:pt x="3121" y="3231"/>
                </a:cubicBezTo>
                <a:cubicBezTo>
                  <a:pt x="3132" y="3237"/>
                  <a:pt x="3132" y="3237"/>
                  <a:pt x="3132" y="3237"/>
                </a:cubicBezTo>
                <a:cubicBezTo>
                  <a:pt x="3150" y="3241"/>
                  <a:pt x="3150" y="3241"/>
                  <a:pt x="3150" y="3241"/>
                </a:cubicBezTo>
                <a:cubicBezTo>
                  <a:pt x="3157" y="3227"/>
                  <a:pt x="3157" y="3227"/>
                  <a:pt x="3157" y="3227"/>
                </a:cubicBezTo>
                <a:cubicBezTo>
                  <a:pt x="3186" y="3233"/>
                  <a:pt x="3186" y="3233"/>
                  <a:pt x="3186" y="3233"/>
                </a:cubicBezTo>
                <a:cubicBezTo>
                  <a:pt x="3186" y="3233"/>
                  <a:pt x="3173" y="3208"/>
                  <a:pt x="3163" y="3208"/>
                </a:cubicBezTo>
                <a:close/>
                <a:moveTo>
                  <a:pt x="4275" y="1715"/>
                </a:moveTo>
                <a:cubicBezTo>
                  <a:pt x="4262" y="1712"/>
                  <a:pt x="4248" y="1719"/>
                  <a:pt x="4243" y="1722"/>
                </a:cubicBezTo>
                <a:cubicBezTo>
                  <a:pt x="4247" y="1719"/>
                  <a:pt x="4256" y="1713"/>
                  <a:pt x="4265" y="1703"/>
                </a:cubicBezTo>
                <a:cubicBezTo>
                  <a:pt x="4277" y="1690"/>
                  <a:pt x="4246" y="1689"/>
                  <a:pt x="4232" y="1705"/>
                </a:cubicBezTo>
                <a:cubicBezTo>
                  <a:pt x="4226" y="1719"/>
                  <a:pt x="4226" y="1719"/>
                  <a:pt x="4226" y="1719"/>
                </a:cubicBezTo>
                <a:cubicBezTo>
                  <a:pt x="4218" y="1733"/>
                  <a:pt x="4218" y="1733"/>
                  <a:pt x="4218" y="1733"/>
                </a:cubicBezTo>
                <a:cubicBezTo>
                  <a:pt x="4255" y="1728"/>
                  <a:pt x="4255" y="1728"/>
                  <a:pt x="4255" y="1728"/>
                </a:cubicBezTo>
                <a:cubicBezTo>
                  <a:pt x="4255" y="1728"/>
                  <a:pt x="4292" y="1719"/>
                  <a:pt x="4275" y="1715"/>
                </a:cubicBezTo>
                <a:close/>
                <a:moveTo>
                  <a:pt x="4135" y="1704"/>
                </a:moveTo>
                <a:cubicBezTo>
                  <a:pt x="4115" y="1700"/>
                  <a:pt x="4104" y="1691"/>
                  <a:pt x="4104" y="1691"/>
                </a:cubicBezTo>
                <a:cubicBezTo>
                  <a:pt x="4094" y="1700"/>
                  <a:pt x="4094" y="1700"/>
                  <a:pt x="4094" y="1700"/>
                </a:cubicBezTo>
                <a:cubicBezTo>
                  <a:pt x="4094" y="1700"/>
                  <a:pt x="4111" y="1709"/>
                  <a:pt x="4115" y="1712"/>
                </a:cubicBezTo>
                <a:cubicBezTo>
                  <a:pt x="4119" y="1715"/>
                  <a:pt x="4138" y="1714"/>
                  <a:pt x="4138" y="1714"/>
                </a:cubicBezTo>
                <a:cubicBezTo>
                  <a:pt x="4138" y="1714"/>
                  <a:pt x="4148" y="1719"/>
                  <a:pt x="4158" y="1718"/>
                </a:cubicBezTo>
                <a:cubicBezTo>
                  <a:pt x="4169" y="1717"/>
                  <a:pt x="4173" y="1706"/>
                  <a:pt x="4173" y="1706"/>
                </a:cubicBezTo>
                <a:cubicBezTo>
                  <a:pt x="4173" y="1706"/>
                  <a:pt x="4156" y="1708"/>
                  <a:pt x="4135" y="1704"/>
                </a:cubicBezTo>
                <a:close/>
                <a:moveTo>
                  <a:pt x="3872" y="725"/>
                </a:moveTo>
                <a:cubicBezTo>
                  <a:pt x="3856" y="723"/>
                  <a:pt x="3867" y="740"/>
                  <a:pt x="3867" y="740"/>
                </a:cubicBezTo>
                <a:cubicBezTo>
                  <a:pt x="3878" y="739"/>
                  <a:pt x="3887" y="726"/>
                  <a:pt x="3872" y="725"/>
                </a:cubicBezTo>
                <a:close/>
                <a:moveTo>
                  <a:pt x="3559" y="1373"/>
                </a:moveTo>
                <a:cubicBezTo>
                  <a:pt x="3587" y="1369"/>
                  <a:pt x="3552" y="1355"/>
                  <a:pt x="3552" y="1355"/>
                </a:cubicBezTo>
                <a:cubicBezTo>
                  <a:pt x="3508" y="1364"/>
                  <a:pt x="3530" y="1376"/>
                  <a:pt x="3559" y="1373"/>
                </a:cubicBezTo>
                <a:close/>
                <a:moveTo>
                  <a:pt x="4213" y="1537"/>
                </a:moveTo>
                <a:cubicBezTo>
                  <a:pt x="4213" y="1537"/>
                  <a:pt x="4180" y="1529"/>
                  <a:pt x="4153" y="1528"/>
                </a:cubicBezTo>
                <a:cubicBezTo>
                  <a:pt x="4126" y="1527"/>
                  <a:pt x="4168" y="1539"/>
                  <a:pt x="4168" y="1539"/>
                </a:cubicBezTo>
                <a:cubicBezTo>
                  <a:pt x="4168" y="1549"/>
                  <a:pt x="4168" y="1549"/>
                  <a:pt x="4168" y="1549"/>
                </a:cubicBezTo>
                <a:cubicBezTo>
                  <a:pt x="4168" y="1549"/>
                  <a:pt x="4201" y="1554"/>
                  <a:pt x="4230" y="1559"/>
                </a:cubicBezTo>
                <a:cubicBezTo>
                  <a:pt x="4259" y="1564"/>
                  <a:pt x="4286" y="1553"/>
                  <a:pt x="4213" y="1537"/>
                </a:cubicBezTo>
                <a:close/>
                <a:moveTo>
                  <a:pt x="3490" y="390"/>
                </a:moveTo>
                <a:cubicBezTo>
                  <a:pt x="3470" y="374"/>
                  <a:pt x="3470" y="374"/>
                  <a:pt x="3470" y="374"/>
                </a:cubicBezTo>
                <a:cubicBezTo>
                  <a:pt x="3451" y="376"/>
                  <a:pt x="3451" y="376"/>
                  <a:pt x="3451" y="376"/>
                </a:cubicBezTo>
                <a:cubicBezTo>
                  <a:pt x="3451" y="376"/>
                  <a:pt x="3439" y="361"/>
                  <a:pt x="3414" y="370"/>
                </a:cubicBezTo>
                <a:cubicBezTo>
                  <a:pt x="3388" y="378"/>
                  <a:pt x="3446" y="402"/>
                  <a:pt x="3446" y="402"/>
                </a:cubicBezTo>
                <a:lnTo>
                  <a:pt x="3490" y="390"/>
                </a:lnTo>
                <a:close/>
                <a:moveTo>
                  <a:pt x="3120" y="293"/>
                </a:moveTo>
                <a:cubicBezTo>
                  <a:pt x="3080" y="303"/>
                  <a:pt x="3108" y="308"/>
                  <a:pt x="3108" y="308"/>
                </a:cubicBezTo>
                <a:cubicBezTo>
                  <a:pt x="3165" y="294"/>
                  <a:pt x="3161" y="282"/>
                  <a:pt x="3120" y="293"/>
                </a:cubicBezTo>
                <a:close/>
                <a:moveTo>
                  <a:pt x="3391" y="603"/>
                </a:moveTo>
                <a:cubicBezTo>
                  <a:pt x="3423" y="604"/>
                  <a:pt x="3429" y="586"/>
                  <a:pt x="3407" y="587"/>
                </a:cubicBezTo>
                <a:cubicBezTo>
                  <a:pt x="3385" y="587"/>
                  <a:pt x="3391" y="603"/>
                  <a:pt x="3391" y="603"/>
                </a:cubicBezTo>
                <a:close/>
                <a:moveTo>
                  <a:pt x="2885" y="3027"/>
                </a:moveTo>
                <a:cubicBezTo>
                  <a:pt x="2882" y="3040"/>
                  <a:pt x="2909" y="3042"/>
                  <a:pt x="2911" y="3027"/>
                </a:cubicBezTo>
                <a:cubicBezTo>
                  <a:pt x="2914" y="3013"/>
                  <a:pt x="2885" y="3027"/>
                  <a:pt x="2885" y="3027"/>
                </a:cubicBezTo>
                <a:close/>
                <a:moveTo>
                  <a:pt x="4683" y="701"/>
                </a:moveTo>
                <a:cubicBezTo>
                  <a:pt x="4698" y="685"/>
                  <a:pt x="4659" y="674"/>
                  <a:pt x="4654" y="678"/>
                </a:cubicBezTo>
                <a:cubicBezTo>
                  <a:pt x="4649" y="682"/>
                  <a:pt x="4637" y="673"/>
                  <a:pt x="4637" y="673"/>
                </a:cubicBezTo>
                <a:cubicBezTo>
                  <a:pt x="4615" y="686"/>
                  <a:pt x="4615" y="686"/>
                  <a:pt x="4615" y="686"/>
                </a:cubicBezTo>
                <a:cubicBezTo>
                  <a:pt x="4617" y="669"/>
                  <a:pt x="4617" y="669"/>
                  <a:pt x="4617" y="669"/>
                </a:cubicBezTo>
                <a:cubicBezTo>
                  <a:pt x="4589" y="669"/>
                  <a:pt x="4589" y="669"/>
                  <a:pt x="4589" y="669"/>
                </a:cubicBezTo>
                <a:cubicBezTo>
                  <a:pt x="4589" y="669"/>
                  <a:pt x="4621" y="659"/>
                  <a:pt x="4615" y="649"/>
                </a:cubicBezTo>
                <a:cubicBezTo>
                  <a:pt x="4610" y="638"/>
                  <a:pt x="4561" y="637"/>
                  <a:pt x="4561" y="637"/>
                </a:cubicBezTo>
                <a:cubicBezTo>
                  <a:pt x="4555" y="626"/>
                  <a:pt x="4555" y="626"/>
                  <a:pt x="4555" y="626"/>
                </a:cubicBezTo>
                <a:cubicBezTo>
                  <a:pt x="4523" y="625"/>
                  <a:pt x="4523" y="625"/>
                  <a:pt x="4523" y="625"/>
                </a:cubicBezTo>
                <a:cubicBezTo>
                  <a:pt x="4479" y="594"/>
                  <a:pt x="4479" y="594"/>
                  <a:pt x="4479" y="594"/>
                </a:cubicBezTo>
                <a:cubicBezTo>
                  <a:pt x="4526" y="591"/>
                  <a:pt x="4526" y="591"/>
                  <a:pt x="4526" y="591"/>
                </a:cubicBezTo>
                <a:cubicBezTo>
                  <a:pt x="4506" y="577"/>
                  <a:pt x="4506" y="577"/>
                  <a:pt x="4506" y="577"/>
                </a:cubicBezTo>
                <a:cubicBezTo>
                  <a:pt x="4506" y="577"/>
                  <a:pt x="4519" y="573"/>
                  <a:pt x="4523" y="573"/>
                </a:cubicBezTo>
                <a:cubicBezTo>
                  <a:pt x="4527" y="573"/>
                  <a:pt x="4579" y="585"/>
                  <a:pt x="4573" y="571"/>
                </a:cubicBezTo>
                <a:cubicBezTo>
                  <a:pt x="4566" y="558"/>
                  <a:pt x="4511" y="561"/>
                  <a:pt x="4511" y="561"/>
                </a:cubicBezTo>
                <a:cubicBezTo>
                  <a:pt x="4493" y="559"/>
                  <a:pt x="4493" y="559"/>
                  <a:pt x="4493" y="559"/>
                </a:cubicBezTo>
                <a:cubicBezTo>
                  <a:pt x="4493" y="559"/>
                  <a:pt x="4570" y="557"/>
                  <a:pt x="4573" y="547"/>
                </a:cubicBezTo>
                <a:cubicBezTo>
                  <a:pt x="4575" y="538"/>
                  <a:pt x="4551" y="538"/>
                  <a:pt x="4551" y="538"/>
                </a:cubicBezTo>
                <a:cubicBezTo>
                  <a:pt x="4482" y="549"/>
                  <a:pt x="4482" y="549"/>
                  <a:pt x="4482" y="549"/>
                </a:cubicBezTo>
                <a:cubicBezTo>
                  <a:pt x="4522" y="525"/>
                  <a:pt x="4522" y="525"/>
                  <a:pt x="4522" y="525"/>
                </a:cubicBezTo>
                <a:cubicBezTo>
                  <a:pt x="4522" y="525"/>
                  <a:pt x="4575" y="531"/>
                  <a:pt x="4559" y="517"/>
                </a:cubicBezTo>
                <a:cubicBezTo>
                  <a:pt x="4543" y="502"/>
                  <a:pt x="4517" y="502"/>
                  <a:pt x="4517" y="502"/>
                </a:cubicBezTo>
                <a:cubicBezTo>
                  <a:pt x="4491" y="517"/>
                  <a:pt x="4491" y="517"/>
                  <a:pt x="4491" y="517"/>
                </a:cubicBezTo>
                <a:cubicBezTo>
                  <a:pt x="4481" y="513"/>
                  <a:pt x="4481" y="513"/>
                  <a:pt x="4481" y="513"/>
                </a:cubicBezTo>
                <a:cubicBezTo>
                  <a:pt x="4453" y="533"/>
                  <a:pt x="4453" y="533"/>
                  <a:pt x="4453" y="533"/>
                </a:cubicBezTo>
                <a:cubicBezTo>
                  <a:pt x="4455" y="518"/>
                  <a:pt x="4455" y="518"/>
                  <a:pt x="4455" y="518"/>
                </a:cubicBezTo>
                <a:cubicBezTo>
                  <a:pt x="4441" y="530"/>
                  <a:pt x="4441" y="530"/>
                  <a:pt x="4441" y="530"/>
                </a:cubicBezTo>
                <a:cubicBezTo>
                  <a:pt x="4455" y="510"/>
                  <a:pt x="4455" y="510"/>
                  <a:pt x="4455" y="510"/>
                </a:cubicBezTo>
                <a:cubicBezTo>
                  <a:pt x="4455" y="510"/>
                  <a:pt x="4475" y="515"/>
                  <a:pt x="4485" y="506"/>
                </a:cubicBezTo>
                <a:cubicBezTo>
                  <a:pt x="4494" y="497"/>
                  <a:pt x="4494" y="483"/>
                  <a:pt x="4487" y="485"/>
                </a:cubicBezTo>
                <a:cubicBezTo>
                  <a:pt x="4481" y="486"/>
                  <a:pt x="4473" y="498"/>
                  <a:pt x="4473" y="498"/>
                </a:cubicBezTo>
                <a:cubicBezTo>
                  <a:pt x="4449" y="499"/>
                  <a:pt x="4449" y="499"/>
                  <a:pt x="4449" y="499"/>
                </a:cubicBezTo>
                <a:cubicBezTo>
                  <a:pt x="4434" y="506"/>
                  <a:pt x="4434" y="506"/>
                  <a:pt x="4434" y="506"/>
                </a:cubicBezTo>
                <a:cubicBezTo>
                  <a:pt x="4450" y="487"/>
                  <a:pt x="4450" y="487"/>
                  <a:pt x="4450" y="487"/>
                </a:cubicBezTo>
                <a:cubicBezTo>
                  <a:pt x="4470" y="487"/>
                  <a:pt x="4470" y="487"/>
                  <a:pt x="4470" y="487"/>
                </a:cubicBezTo>
                <a:cubicBezTo>
                  <a:pt x="4470" y="487"/>
                  <a:pt x="4494" y="478"/>
                  <a:pt x="4481" y="470"/>
                </a:cubicBezTo>
                <a:cubicBezTo>
                  <a:pt x="4467" y="462"/>
                  <a:pt x="4423" y="482"/>
                  <a:pt x="4423" y="482"/>
                </a:cubicBezTo>
                <a:cubicBezTo>
                  <a:pt x="4415" y="473"/>
                  <a:pt x="4415" y="473"/>
                  <a:pt x="4415" y="473"/>
                </a:cubicBezTo>
                <a:cubicBezTo>
                  <a:pt x="4399" y="485"/>
                  <a:pt x="4399" y="485"/>
                  <a:pt x="4399" y="485"/>
                </a:cubicBezTo>
                <a:cubicBezTo>
                  <a:pt x="4414" y="465"/>
                  <a:pt x="4414" y="465"/>
                  <a:pt x="4414" y="465"/>
                </a:cubicBezTo>
                <a:cubicBezTo>
                  <a:pt x="4377" y="478"/>
                  <a:pt x="4377" y="478"/>
                  <a:pt x="4377" y="478"/>
                </a:cubicBezTo>
                <a:cubicBezTo>
                  <a:pt x="4377" y="463"/>
                  <a:pt x="4377" y="463"/>
                  <a:pt x="4377" y="463"/>
                </a:cubicBezTo>
                <a:cubicBezTo>
                  <a:pt x="4377" y="463"/>
                  <a:pt x="4413" y="454"/>
                  <a:pt x="4413" y="450"/>
                </a:cubicBezTo>
                <a:cubicBezTo>
                  <a:pt x="4413" y="446"/>
                  <a:pt x="4363" y="455"/>
                  <a:pt x="4363" y="455"/>
                </a:cubicBezTo>
                <a:cubicBezTo>
                  <a:pt x="4362" y="447"/>
                  <a:pt x="4362" y="447"/>
                  <a:pt x="4362" y="447"/>
                </a:cubicBezTo>
                <a:cubicBezTo>
                  <a:pt x="4362" y="447"/>
                  <a:pt x="4410" y="437"/>
                  <a:pt x="4405" y="430"/>
                </a:cubicBezTo>
                <a:cubicBezTo>
                  <a:pt x="4399" y="423"/>
                  <a:pt x="4334" y="422"/>
                  <a:pt x="4326" y="419"/>
                </a:cubicBezTo>
                <a:cubicBezTo>
                  <a:pt x="4318" y="417"/>
                  <a:pt x="4302" y="419"/>
                  <a:pt x="4301" y="423"/>
                </a:cubicBezTo>
                <a:cubicBezTo>
                  <a:pt x="4299" y="427"/>
                  <a:pt x="4310" y="441"/>
                  <a:pt x="4310" y="441"/>
                </a:cubicBezTo>
                <a:cubicBezTo>
                  <a:pt x="4286" y="437"/>
                  <a:pt x="4286" y="437"/>
                  <a:pt x="4286" y="437"/>
                </a:cubicBezTo>
                <a:cubicBezTo>
                  <a:pt x="4289" y="455"/>
                  <a:pt x="4289" y="455"/>
                  <a:pt x="4289" y="455"/>
                </a:cubicBezTo>
                <a:cubicBezTo>
                  <a:pt x="4275" y="438"/>
                  <a:pt x="4275" y="438"/>
                  <a:pt x="4275" y="438"/>
                </a:cubicBezTo>
                <a:cubicBezTo>
                  <a:pt x="4250" y="454"/>
                  <a:pt x="4250" y="454"/>
                  <a:pt x="4250" y="454"/>
                </a:cubicBezTo>
                <a:cubicBezTo>
                  <a:pt x="4250" y="454"/>
                  <a:pt x="4255" y="439"/>
                  <a:pt x="4250" y="435"/>
                </a:cubicBezTo>
                <a:cubicBezTo>
                  <a:pt x="4245" y="431"/>
                  <a:pt x="4197" y="451"/>
                  <a:pt x="4197" y="451"/>
                </a:cubicBezTo>
                <a:cubicBezTo>
                  <a:pt x="4209" y="426"/>
                  <a:pt x="4209" y="426"/>
                  <a:pt x="4209" y="426"/>
                </a:cubicBezTo>
                <a:cubicBezTo>
                  <a:pt x="4209" y="426"/>
                  <a:pt x="4249" y="425"/>
                  <a:pt x="4249" y="415"/>
                </a:cubicBezTo>
                <a:cubicBezTo>
                  <a:pt x="4249" y="406"/>
                  <a:pt x="4235" y="394"/>
                  <a:pt x="4235" y="394"/>
                </a:cubicBezTo>
                <a:cubicBezTo>
                  <a:pt x="4235" y="394"/>
                  <a:pt x="4259" y="377"/>
                  <a:pt x="4243" y="374"/>
                </a:cubicBezTo>
                <a:cubicBezTo>
                  <a:pt x="4227" y="371"/>
                  <a:pt x="4181" y="375"/>
                  <a:pt x="4181" y="375"/>
                </a:cubicBezTo>
                <a:cubicBezTo>
                  <a:pt x="4166" y="386"/>
                  <a:pt x="4166" y="386"/>
                  <a:pt x="4166" y="386"/>
                </a:cubicBezTo>
                <a:cubicBezTo>
                  <a:pt x="4107" y="387"/>
                  <a:pt x="4107" y="387"/>
                  <a:pt x="4107" y="387"/>
                </a:cubicBezTo>
                <a:cubicBezTo>
                  <a:pt x="4114" y="398"/>
                  <a:pt x="4114" y="398"/>
                  <a:pt x="4114" y="398"/>
                </a:cubicBezTo>
                <a:cubicBezTo>
                  <a:pt x="4134" y="406"/>
                  <a:pt x="4134" y="406"/>
                  <a:pt x="4134" y="406"/>
                </a:cubicBezTo>
                <a:cubicBezTo>
                  <a:pt x="4105" y="398"/>
                  <a:pt x="4105" y="398"/>
                  <a:pt x="4105" y="398"/>
                </a:cubicBezTo>
                <a:cubicBezTo>
                  <a:pt x="4111" y="414"/>
                  <a:pt x="4111" y="414"/>
                  <a:pt x="4111" y="414"/>
                </a:cubicBezTo>
                <a:cubicBezTo>
                  <a:pt x="4111" y="414"/>
                  <a:pt x="4079" y="401"/>
                  <a:pt x="4070" y="413"/>
                </a:cubicBezTo>
                <a:cubicBezTo>
                  <a:pt x="4061" y="425"/>
                  <a:pt x="4078" y="437"/>
                  <a:pt x="4078" y="437"/>
                </a:cubicBezTo>
                <a:cubicBezTo>
                  <a:pt x="4081" y="454"/>
                  <a:pt x="4081" y="454"/>
                  <a:pt x="4081" y="454"/>
                </a:cubicBezTo>
                <a:cubicBezTo>
                  <a:pt x="4081" y="454"/>
                  <a:pt x="4061" y="442"/>
                  <a:pt x="4050" y="445"/>
                </a:cubicBezTo>
                <a:cubicBezTo>
                  <a:pt x="4039" y="447"/>
                  <a:pt x="4025" y="466"/>
                  <a:pt x="4037" y="467"/>
                </a:cubicBezTo>
                <a:cubicBezTo>
                  <a:pt x="4049" y="469"/>
                  <a:pt x="4053" y="475"/>
                  <a:pt x="4053" y="475"/>
                </a:cubicBezTo>
                <a:cubicBezTo>
                  <a:pt x="4022" y="490"/>
                  <a:pt x="4022" y="490"/>
                  <a:pt x="4022" y="490"/>
                </a:cubicBezTo>
                <a:cubicBezTo>
                  <a:pt x="3982" y="494"/>
                  <a:pt x="3982" y="494"/>
                  <a:pt x="3982" y="494"/>
                </a:cubicBezTo>
                <a:cubicBezTo>
                  <a:pt x="3982" y="494"/>
                  <a:pt x="4021" y="486"/>
                  <a:pt x="4021" y="477"/>
                </a:cubicBezTo>
                <a:cubicBezTo>
                  <a:pt x="4021" y="467"/>
                  <a:pt x="3997" y="466"/>
                  <a:pt x="4007" y="453"/>
                </a:cubicBezTo>
                <a:cubicBezTo>
                  <a:pt x="4018" y="439"/>
                  <a:pt x="4031" y="438"/>
                  <a:pt x="4031" y="438"/>
                </a:cubicBezTo>
                <a:cubicBezTo>
                  <a:pt x="4031" y="419"/>
                  <a:pt x="4031" y="419"/>
                  <a:pt x="4031" y="419"/>
                </a:cubicBezTo>
                <a:cubicBezTo>
                  <a:pt x="4031" y="419"/>
                  <a:pt x="4066" y="397"/>
                  <a:pt x="4078" y="391"/>
                </a:cubicBezTo>
                <a:cubicBezTo>
                  <a:pt x="4090" y="386"/>
                  <a:pt x="4135" y="379"/>
                  <a:pt x="4127" y="375"/>
                </a:cubicBezTo>
                <a:cubicBezTo>
                  <a:pt x="4119" y="371"/>
                  <a:pt x="4073" y="370"/>
                  <a:pt x="4047" y="371"/>
                </a:cubicBezTo>
                <a:cubicBezTo>
                  <a:pt x="4022" y="373"/>
                  <a:pt x="3954" y="414"/>
                  <a:pt x="3954" y="414"/>
                </a:cubicBezTo>
                <a:cubicBezTo>
                  <a:pt x="3954" y="414"/>
                  <a:pt x="3925" y="427"/>
                  <a:pt x="3915" y="429"/>
                </a:cubicBezTo>
                <a:cubicBezTo>
                  <a:pt x="3906" y="430"/>
                  <a:pt x="3902" y="441"/>
                  <a:pt x="3902" y="441"/>
                </a:cubicBezTo>
                <a:cubicBezTo>
                  <a:pt x="3902" y="441"/>
                  <a:pt x="3855" y="467"/>
                  <a:pt x="3873" y="474"/>
                </a:cubicBezTo>
                <a:cubicBezTo>
                  <a:pt x="3890" y="481"/>
                  <a:pt x="3942" y="477"/>
                  <a:pt x="3935" y="486"/>
                </a:cubicBezTo>
                <a:cubicBezTo>
                  <a:pt x="3929" y="495"/>
                  <a:pt x="3842" y="494"/>
                  <a:pt x="3863" y="509"/>
                </a:cubicBezTo>
                <a:cubicBezTo>
                  <a:pt x="3885" y="523"/>
                  <a:pt x="3911" y="526"/>
                  <a:pt x="3911" y="526"/>
                </a:cubicBezTo>
                <a:cubicBezTo>
                  <a:pt x="3942" y="514"/>
                  <a:pt x="3942" y="514"/>
                  <a:pt x="3942" y="514"/>
                </a:cubicBezTo>
                <a:cubicBezTo>
                  <a:pt x="3942" y="514"/>
                  <a:pt x="3933" y="530"/>
                  <a:pt x="3955" y="530"/>
                </a:cubicBezTo>
                <a:cubicBezTo>
                  <a:pt x="3978" y="530"/>
                  <a:pt x="4066" y="549"/>
                  <a:pt x="4077" y="543"/>
                </a:cubicBezTo>
                <a:cubicBezTo>
                  <a:pt x="4087" y="538"/>
                  <a:pt x="4063" y="526"/>
                  <a:pt x="4063" y="526"/>
                </a:cubicBezTo>
                <a:cubicBezTo>
                  <a:pt x="4063" y="526"/>
                  <a:pt x="4130" y="533"/>
                  <a:pt x="4141" y="534"/>
                </a:cubicBezTo>
                <a:cubicBezTo>
                  <a:pt x="4151" y="535"/>
                  <a:pt x="4178" y="546"/>
                  <a:pt x="4187" y="541"/>
                </a:cubicBezTo>
                <a:cubicBezTo>
                  <a:pt x="4197" y="535"/>
                  <a:pt x="4178" y="515"/>
                  <a:pt x="4178" y="515"/>
                </a:cubicBezTo>
                <a:cubicBezTo>
                  <a:pt x="4209" y="509"/>
                  <a:pt x="4209" y="509"/>
                  <a:pt x="4209" y="509"/>
                </a:cubicBezTo>
                <a:cubicBezTo>
                  <a:pt x="4209" y="509"/>
                  <a:pt x="4217" y="531"/>
                  <a:pt x="4221" y="530"/>
                </a:cubicBezTo>
                <a:cubicBezTo>
                  <a:pt x="4225" y="529"/>
                  <a:pt x="4239" y="545"/>
                  <a:pt x="4239" y="545"/>
                </a:cubicBezTo>
                <a:cubicBezTo>
                  <a:pt x="4259" y="538"/>
                  <a:pt x="4259" y="538"/>
                  <a:pt x="4259" y="538"/>
                </a:cubicBezTo>
                <a:cubicBezTo>
                  <a:pt x="4259" y="538"/>
                  <a:pt x="4251" y="558"/>
                  <a:pt x="4255" y="559"/>
                </a:cubicBezTo>
                <a:cubicBezTo>
                  <a:pt x="4259" y="561"/>
                  <a:pt x="4289" y="567"/>
                  <a:pt x="4289" y="567"/>
                </a:cubicBezTo>
                <a:cubicBezTo>
                  <a:pt x="4289" y="567"/>
                  <a:pt x="4267" y="586"/>
                  <a:pt x="4275" y="586"/>
                </a:cubicBezTo>
                <a:cubicBezTo>
                  <a:pt x="4283" y="586"/>
                  <a:pt x="4302" y="586"/>
                  <a:pt x="4302" y="586"/>
                </a:cubicBezTo>
                <a:cubicBezTo>
                  <a:pt x="4298" y="603"/>
                  <a:pt x="4298" y="603"/>
                  <a:pt x="4298" y="603"/>
                </a:cubicBezTo>
                <a:cubicBezTo>
                  <a:pt x="4298" y="603"/>
                  <a:pt x="4331" y="607"/>
                  <a:pt x="4331" y="623"/>
                </a:cubicBezTo>
                <a:cubicBezTo>
                  <a:pt x="4331" y="639"/>
                  <a:pt x="4309" y="673"/>
                  <a:pt x="4303" y="674"/>
                </a:cubicBezTo>
                <a:cubicBezTo>
                  <a:pt x="4298" y="675"/>
                  <a:pt x="4210" y="714"/>
                  <a:pt x="4210" y="714"/>
                </a:cubicBezTo>
                <a:cubicBezTo>
                  <a:pt x="4210" y="714"/>
                  <a:pt x="4238" y="733"/>
                  <a:pt x="4223" y="739"/>
                </a:cubicBezTo>
                <a:cubicBezTo>
                  <a:pt x="4209" y="746"/>
                  <a:pt x="4189" y="747"/>
                  <a:pt x="4189" y="747"/>
                </a:cubicBezTo>
                <a:cubicBezTo>
                  <a:pt x="4137" y="754"/>
                  <a:pt x="4137" y="754"/>
                  <a:pt x="4137" y="754"/>
                </a:cubicBezTo>
                <a:cubicBezTo>
                  <a:pt x="4131" y="769"/>
                  <a:pt x="4131" y="769"/>
                  <a:pt x="4131" y="769"/>
                </a:cubicBezTo>
                <a:cubicBezTo>
                  <a:pt x="4122" y="755"/>
                  <a:pt x="4122" y="755"/>
                  <a:pt x="4122" y="755"/>
                </a:cubicBezTo>
                <a:cubicBezTo>
                  <a:pt x="4122" y="755"/>
                  <a:pt x="4095" y="746"/>
                  <a:pt x="4082" y="749"/>
                </a:cubicBezTo>
                <a:cubicBezTo>
                  <a:pt x="4069" y="751"/>
                  <a:pt x="4070" y="763"/>
                  <a:pt x="4070" y="763"/>
                </a:cubicBezTo>
                <a:cubicBezTo>
                  <a:pt x="4070" y="763"/>
                  <a:pt x="4025" y="773"/>
                  <a:pt x="4025" y="789"/>
                </a:cubicBezTo>
                <a:cubicBezTo>
                  <a:pt x="4025" y="813"/>
                  <a:pt x="4059" y="807"/>
                  <a:pt x="4086" y="798"/>
                </a:cubicBezTo>
                <a:cubicBezTo>
                  <a:pt x="4113" y="789"/>
                  <a:pt x="4119" y="790"/>
                  <a:pt x="4119" y="790"/>
                </a:cubicBezTo>
                <a:cubicBezTo>
                  <a:pt x="4119" y="790"/>
                  <a:pt x="4138" y="803"/>
                  <a:pt x="4145" y="798"/>
                </a:cubicBezTo>
                <a:cubicBezTo>
                  <a:pt x="4151" y="793"/>
                  <a:pt x="4147" y="782"/>
                  <a:pt x="4147" y="782"/>
                </a:cubicBezTo>
                <a:cubicBezTo>
                  <a:pt x="4163" y="767"/>
                  <a:pt x="4163" y="767"/>
                  <a:pt x="4163" y="767"/>
                </a:cubicBezTo>
                <a:cubicBezTo>
                  <a:pt x="4163" y="767"/>
                  <a:pt x="4150" y="779"/>
                  <a:pt x="4159" y="782"/>
                </a:cubicBezTo>
                <a:cubicBezTo>
                  <a:pt x="4169" y="785"/>
                  <a:pt x="4203" y="785"/>
                  <a:pt x="4203" y="785"/>
                </a:cubicBezTo>
                <a:cubicBezTo>
                  <a:pt x="4203" y="785"/>
                  <a:pt x="4189" y="791"/>
                  <a:pt x="4190" y="798"/>
                </a:cubicBezTo>
                <a:cubicBezTo>
                  <a:pt x="4191" y="805"/>
                  <a:pt x="4213" y="809"/>
                  <a:pt x="4213" y="809"/>
                </a:cubicBezTo>
                <a:cubicBezTo>
                  <a:pt x="4213" y="809"/>
                  <a:pt x="4199" y="818"/>
                  <a:pt x="4210" y="825"/>
                </a:cubicBezTo>
                <a:cubicBezTo>
                  <a:pt x="4221" y="831"/>
                  <a:pt x="4245" y="831"/>
                  <a:pt x="4245" y="831"/>
                </a:cubicBezTo>
                <a:cubicBezTo>
                  <a:pt x="4214" y="842"/>
                  <a:pt x="4214" y="842"/>
                  <a:pt x="4214" y="842"/>
                </a:cubicBezTo>
                <a:cubicBezTo>
                  <a:pt x="4214" y="842"/>
                  <a:pt x="4219" y="863"/>
                  <a:pt x="4225" y="862"/>
                </a:cubicBezTo>
                <a:cubicBezTo>
                  <a:pt x="4230" y="861"/>
                  <a:pt x="4241" y="854"/>
                  <a:pt x="4241" y="854"/>
                </a:cubicBezTo>
                <a:cubicBezTo>
                  <a:pt x="4241" y="854"/>
                  <a:pt x="4243" y="869"/>
                  <a:pt x="4253" y="870"/>
                </a:cubicBezTo>
                <a:cubicBezTo>
                  <a:pt x="4262" y="871"/>
                  <a:pt x="4283" y="874"/>
                  <a:pt x="4283" y="874"/>
                </a:cubicBezTo>
                <a:cubicBezTo>
                  <a:pt x="4283" y="874"/>
                  <a:pt x="4282" y="891"/>
                  <a:pt x="4298" y="895"/>
                </a:cubicBezTo>
                <a:cubicBezTo>
                  <a:pt x="4314" y="899"/>
                  <a:pt x="4325" y="891"/>
                  <a:pt x="4339" y="899"/>
                </a:cubicBezTo>
                <a:cubicBezTo>
                  <a:pt x="4354" y="907"/>
                  <a:pt x="4390" y="922"/>
                  <a:pt x="4390" y="922"/>
                </a:cubicBezTo>
                <a:cubicBezTo>
                  <a:pt x="4390" y="922"/>
                  <a:pt x="4401" y="902"/>
                  <a:pt x="4389" y="889"/>
                </a:cubicBezTo>
                <a:cubicBezTo>
                  <a:pt x="4377" y="875"/>
                  <a:pt x="4357" y="863"/>
                  <a:pt x="4357" y="863"/>
                </a:cubicBezTo>
                <a:cubicBezTo>
                  <a:pt x="4357" y="863"/>
                  <a:pt x="4337" y="838"/>
                  <a:pt x="4342" y="830"/>
                </a:cubicBezTo>
                <a:cubicBezTo>
                  <a:pt x="4347" y="822"/>
                  <a:pt x="4370" y="845"/>
                  <a:pt x="4370" y="845"/>
                </a:cubicBezTo>
                <a:cubicBezTo>
                  <a:pt x="4370" y="825"/>
                  <a:pt x="4370" y="825"/>
                  <a:pt x="4370" y="825"/>
                </a:cubicBezTo>
                <a:cubicBezTo>
                  <a:pt x="4370" y="825"/>
                  <a:pt x="4379" y="850"/>
                  <a:pt x="4389" y="850"/>
                </a:cubicBezTo>
                <a:cubicBezTo>
                  <a:pt x="4398" y="850"/>
                  <a:pt x="4413" y="846"/>
                  <a:pt x="4413" y="846"/>
                </a:cubicBezTo>
                <a:cubicBezTo>
                  <a:pt x="4413" y="846"/>
                  <a:pt x="4409" y="867"/>
                  <a:pt x="4419" y="866"/>
                </a:cubicBezTo>
                <a:cubicBezTo>
                  <a:pt x="4430" y="865"/>
                  <a:pt x="4434" y="877"/>
                  <a:pt x="4434" y="877"/>
                </a:cubicBezTo>
                <a:cubicBezTo>
                  <a:pt x="4447" y="862"/>
                  <a:pt x="4447" y="862"/>
                  <a:pt x="4447" y="862"/>
                </a:cubicBezTo>
                <a:cubicBezTo>
                  <a:pt x="4447" y="862"/>
                  <a:pt x="4457" y="874"/>
                  <a:pt x="4462" y="871"/>
                </a:cubicBezTo>
                <a:cubicBezTo>
                  <a:pt x="4467" y="869"/>
                  <a:pt x="4461" y="853"/>
                  <a:pt x="4461" y="853"/>
                </a:cubicBezTo>
                <a:cubicBezTo>
                  <a:pt x="4471" y="822"/>
                  <a:pt x="4471" y="822"/>
                  <a:pt x="4471" y="822"/>
                </a:cubicBezTo>
                <a:cubicBezTo>
                  <a:pt x="4471" y="822"/>
                  <a:pt x="4471" y="849"/>
                  <a:pt x="4479" y="849"/>
                </a:cubicBezTo>
                <a:cubicBezTo>
                  <a:pt x="4487" y="849"/>
                  <a:pt x="4491" y="821"/>
                  <a:pt x="4491" y="821"/>
                </a:cubicBezTo>
                <a:cubicBezTo>
                  <a:pt x="4477" y="805"/>
                  <a:pt x="4477" y="805"/>
                  <a:pt x="4477" y="805"/>
                </a:cubicBezTo>
                <a:cubicBezTo>
                  <a:pt x="4491" y="801"/>
                  <a:pt x="4491" y="801"/>
                  <a:pt x="4491" y="801"/>
                </a:cubicBezTo>
                <a:cubicBezTo>
                  <a:pt x="4479" y="791"/>
                  <a:pt x="4479" y="791"/>
                  <a:pt x="4479" y="791"/>
                </a:cubicBezTo>
                <a:cubicBezTo>
                  <a:pt x="4481" y="778"/>
                  <a:pt x="4481" y="778"/>
                  <a:pt x="4481" y="778"/>
                </a:cubicBezTo>
                <a:cubicBezTo>
                  <a:pt x="4461" y="781"/>
                  <a:pt x="4461" y="781"/>
                  <a:pt x="4461" y="781"/>
                </a:cubicBezTo>
                <a:cubicBezTo>
                  <a:pt x="4461" y="770"/>
                  <a:pt x="4461" y="770"/>
                  <a:pt x="4461" y="770"/>
                </a:cubicBezTo>
                <a:cubicBezTo>
                  <a:pt x="4446" y="770"/>
                  <a:pt x="4446" y="770"/>
                  <a:pt x="4446" y="770"/>
                </a:cubicBezTo>
                <a:cubicBezTo>
                  <a:pt x="4445" y="737"/>
                  <a:pt x="4445" y="737"/>
                  <a:pt x="4445" y="737"/>
                </a:cubicBezTo>
                <a:cubicBezTo>
                  <a:pt x="4423" y="738"/>
                  <a:pt x="4423" y="738"/>
                  <a:pt x="4423" y="738"/>
                </a:cubicBezTo>
                <a:cubicBezTo>
                  <a:pt x="4423" y="738"/>
                  <a:pt x="4411" y="718"/>
                  <a:pt x="4423" y="715"/>
                </a:cubicBezTo>
                <a:cubicBezTo>
                  <a:pt x="4435" y="713"/>
                  <a:pt x="4443" y="730"/>
                  <a:pt x="4451" y="727"/>
                </a:cubicBezTo>
                <a:cubicBezTo>
                  <a:pt x="4459" y="725"/>
                  <a:pt x="4458" y="699"/>
                  <a:pt x="4458" y="699"/>
                </a:cubicBezTo>
                <a:cubicBezTo>
                  <a:pt x="4473" y="703"/>
                  <a:pt x="4473" y="703"/>
                  <a:pt x="4473" y="703"/>
                </a:cubicBezTo>
                <a:cubicBezTo>
                  <a:pt x="4498" y="691"/>
                  <a:pt x="4498" y="691"/>
                  <a:pt x="4498" y="691"/>
                </a:cubicBezTo>
                <a:cubicBezTo>
                  <a:pt x="4498" y="691"/>
                  <a:pt x="4499" y="723"/>
                  <a:pt x="4506" y="717"/>
                </a:cubicBezTo>
                <a:cubicBezTo>
                  <a:pt x="4513" y="710"/>
                  <a:pt x="4526" y="710"/>
                  <a:pt x="4526" y="710"/>
                </a:cubicBezTo>
                <a:cubicBezTo>
                  <a:pt x="4518" y="722"/>
                  <a:pt x="4518" y="722"/>
                  <a:pt x="4518" y="722"/>
                </a:cubicBezTo>
                <a:cubicBezTo>
                  <a:pt x="4533" y="723"/>
                  <a:pt x="4533" y="723"/>
                  <a:pt x="4533" y="723"/>
                </a:cubicBezTo>
                <a:cubicBezTo>
                  <a:pt x="4526" y="742"/>
                  <a:pt x="4526" y="742"/>
                  <a:pt x="4526" y="742"/>
                </a:cubicBezTo>
                <a:cubicBezTo>
                  <a:pt x="4526" y="742"/>
                  <a:pt x="4549" y="783"/>
                  <a:pt x="4565" y="773"/>
                </a:cubicBezTo>
                <a:cubicBezTo>
                  <a:pt x="4581" y="762"/>
                  <a:pt x="4583" y="737"/>
                  <a:pt x="4583" y="737"/>
                </a:cubicBezTo>
                <a:cubicBezTo>
                  <a:pt x="4590" y="727"/>
                  <a:pt x="4590" y="727"/>
                  <a:pt x="4590" y="727"/>
                </a:cubicBezTo>
                <a:cubicBezTo>
                  <a:pt x="4590" y="727"/>
                  <a:pt x="4609" y="743"/>
                  <a:pt x="4622" y="734"/>
                </a:cubicBezTo>
                <a:cubicBezTo>
                  <a:pt x="4635" y="725"/>
                  <a:pt x="4634" y="707"/>
                  <a:pt x="4634" y="707"/>
                </a:cubicBezTo>
                <a:cubicBezTo>
                  <a:pt x="4634" y="707"/>
                  <a:pt x="4669" y="717"/>
                  <a:pt x="4683" y="701"/>
                </a:cubicBezTo>
                <a:close/>
                <a:moveTo>
                  <a:pt x="4331" y="69"/>
                </a:moveTo>
                <a:cubicBezTo>
                  <a:pt x="4387" y="72"/>
                  <a:pt x="4387" y="72"/>
                  <a:pt x="4387" y="72"/>
                </a:cubicBezTo>
                <a:cubicBezTo>
                  <a:pt x="4332" y="80"/>
                  <a:pt x="4332" y="80"/>
                  <a:pt x="4332" y="80"/>
                </a:cubicBezTo>
                <a:cubicBezTo>
                  <a:pt x="4332" y="80"/>
                  <a:pt x="4352" y="89"/>
                  <a:pt x="4366" y="89"/>
                </a:cubicBezTo>
                <a:cubicBezTo>
                  <a:pt x="4380" y="89"/>
                  <a:pt x="4417" y="83"/>
                  <a:pt x="4417" y="83"/>
                </a:cubicBezTo>
                <a:cubicBezTo>
                  <a:pt x="4417" y="83"/>
                  <a:pt x="4442" y="75"/>
                  <a:pt x="4460" y="75"/>
                </a:cubicBezTo>
                <a:cubicBezTo>
                  <a:pt x="4479" y="75"/>
                  <a:pt x="4522" y="84"/>
                  <a:pt x="4522" y="84"/>
                </a:cubicBezTo>
                <a:cubicBezTo>
                  <a:pt x="4522" y="84"/>
                  <a:pt x="4471" y="85"/>
                  <a:pt x="4459" y="86"/>
                </a:cubicBezTo>
                <a:cubicBezTo>
                  <a:pt x="4447" y="87"/>
                  <a:pt x="4412" y="100"/>
                  <a:pt x="4412" y="100"/>
                </a:cubicBezTo>
                <a:cubicBezTo>
                  <a:pt x="4412" y="100"/>
                  <a:pt x="4440" y="100"/>
                  <a:pt x="4461" y="102"/>
                </a:cubicBezTo>
                <a:cubicBezTo>
                  <a:pt x="4483" y="104"/>
                  <a:pt x="4488" y="96"/>
                  <a:pt x="4488" y="96"/>
                </a:cubicBezTo>
                <a:cubicBezTo>
                  <a:pt x="4532" y="96"/>
                  <a:pt x="4532" y="96"/>
                  <a:pt x="4532" y="96"/>
                </a:cubicBezTo>
                <a:cubicBezTo>
                  <a:pt x="4532" y="96"/>
                  <a:pt x="4546" y="97"/>
                  <a:pt x="4563" y="97"/>
                </a:cubicBezTo>
                <a:cubicBezTo>
                  <a:pt x="4580" y="97"/>
                  <a:pt x="4620" y="86"/>
                  <a:pt x="4624" y="83"/>
                </a:cubicBezTo>
                <a:cubicBezTo>
                  <a:pt x="4629" y="79"/>
                  <a:pt x="4655" y="76"/>
                  <a:pt x="4668" y="72"/>
                </a:cubicBezTo>
                <a:cubicBezTo>
                  <a:pt x="4681" y="67"/>
                  <a:pt x="4702" y="72"/>
                  <a:pt x="4702" y="72"/>
                </a:cubicBezTo>
                <a:cubicBezTo>
                  <a:pt x="4644" y="89"/>
                  <a:pt x="4644" y="89"/>
                  <a:pt x="4644" y="89"/>
                </a:cubicBezTo>
                <a:cubicBezTo>
                  <a:pt x="4667" y="90"/>
                  <a:pt x="4667" y="90"/>
                  <a:pt x="4667" y="90"/>
                </a:cubicBezTo>
                <a:cubicBezTo>
                  <a:pt x="4635" y="100"/>
                  <a:pt x="4635" y="100"/>
                  <a:pt x="4635" y="100"/>
                </a:cubicBezTo>
                <a:cubicBezTo>
                  <a:pt x="4635" y="100"/>
                  <a:pt x="4522" y="105"/>
                  <a:pt x="4509" y="105"/>
                </a:cubicBezTo>
                <a:cubicBezTo>
                  <a:pt x="4496" y="105"/>
                  <a:pt x="4496" y="117"/>
                  <a:pt x="4496" y="117"/>
                </a:cubicBezTo>
                <a:cubicBezTo>
                  <a:pt x="4547" y="132"/>
                  <a:pt x="4547" y="132"/>
                  <a:pt x="4547" y="132"/>
                </a:cubicBezTo>
                <a:cubicBezTo>
                  <a:pt x="4547" y="132"/>
                  <a:pt x="4527" y="138"/>
                  <a:pt x="4515" y="138"/>
                </a:cubicBezTo>
                <a:cubicBezTo>
                  <a:pt x="4504" y="138"/>
                  <a:pt x="4456" y="112"/>
                  <a:pt x="4456" y="112"/>
                </a:cubicBezTo>
                <a:cubicBezTo>
                  <a:pt x="4456" y="112"/>
                  <a:pt x="4407" y="113"/>
                  <a:pt x="4394" y="113"/>
                </a:cubicBezTo>
                <a:cubicBezTo>
                  <a:pt x="4381" y="113"/>
                  <a:pt x="4373" y="128"/>
                  <a:pt x="4373" y="128"/>
                </a:cubicBezTo>
                <a:cubicBezTo>
                  <a:pt x="4394" y="139"/>
                  <a:pt x="4394" y="139"/>
                  <a:pt x="4394" y="139"/>
                </a:cubicBezTo>
                <a:cubicBezTo>
                  <a:pt x="4394" y="139"/>
                  <a:pt x="4405" y="155"/>
                  <a:pt x="4422" y="158"/>
                </a:cubicBezTo>
                <a:cubicBezTo>
                  <a:pt x="4438" y="161"/>
                  <a:pt x="4471" y="157"/>
                  <a:pt x="4471" y="157"/>
                </a:cubicBezTo>
                <a:cubicBezTo>
                  <a:pt x="4471" y="157"/>
                  <a:pt x="4463" y="166"/>
                  <a:pt x="4446" y="168"/>
                </a:cubicBezTo>
                <a:cubicBezTo>
                  <a:pt x="4430" y="170"/>
                  <a:pt x="4399" y="164"/>
                  <a:pt x="4391" y="162"/>
                </a:cubicBezTo>
                <a:cubicBezTo>
                  <a:pt x="4384" y="160"/>
                  <a:pt x="4328" y="170"/>
                  <a:pt x="4310" y="170"/>
                </a:cubicBezTo>
                <a:cubicBezTo>
                  <a:pt x="4291" y="170"/>
                  <a:pt x="4256" y="195"/>
                  <a:pt x="4256" y="195"/>
                </a:cubicBezTo>
                <a:cubicBezTo>
                  <a:pt x="4305" y="187"/>
                  <a:pt x="4305" y="187"/>
                  <a:pt x="4305" y="187"/>
                </a:cubicBezTo>
                <a:cubicBezTo>
                  <a:pt x="4303" y="199"/>
                  <a:pt x="4303" y="199"/>
                  <a:pt x="4303" y="199"/>
                </a:cubicBezTo>
                <a:cubicBezTo>
                  <a:pt x="4345" y="187"/>
                  <a:pt x="4345" y="187"/>
                  <a:pt x="4345" y="187"/>
                </a:cubicBezTo>
                <a:cubicBezTo>
                  <a:pt x="4298" y="205"/>
                  <a:pt x="4298" y="205"/>
                  <a:pt x="4298" y="205"/>
                </a:cubicBezTo>
                <a:cubicBezTo>
                  <a:pt x="4298" y="205"/>
                  <a:pt x="4306" y="216"/>
                  <a:pt x="4322" y="216"/>
                </a:cubicBezTo>
                <a:cubicBezTo>
                  <a:pt x="4339" y="216"/>
                  <a:pt x="4384" y="199"/>
                  <a:pt x="4384" y="199"/>
                </a:cubicBezTo>
                <a:cubicBezTo>
                  <a:pt x="4316" y="225"/>
                  <a:pt x="4316" y="225"/>
                  <a:pt x="4316" y="225"/>
                </a:cubicBezTo>
                <a:cubicBezTo>
                  <a:pt x="4271" y="222"/>
                  <a:pt x="4271" y="222"/>
                  <a:pt x="4271" y="222"/>
                </a:cubicBezTo>
                <a:cubicBezTo>
                  <a:pt x="4262" y="205"/>
                  <a:pt x="4262" y="205"/>
                  <a:pt x="4262" y="205"/>
                </a:cubicBezTo>
                <a:cubicBezTo>
                  <a:pt x="4262" y="205"/>
                  <a:pt x="4229" y="202"/>
                  <a:pt x="4219" y="204"/>
                </a:cubicBezTo>
                <a:cubicBezTo>
                  <a:pt x="4209" y="206"/>
                  <a:pt x="4223" y="231"/>
                  <a:pt x="4223" y="231"/>
                </a:cubicBezTo>
                <a:cubicBezTo>
                  <a:pt x="4223" y="231"/>
                  <a:pt x="4179" y="235"/>
                  <a:pt x="4173" y="235"/>
                </a:cubicBezTo>
                <a:cubicBezTo>
                  <a:pt x="4166" y="235"/>
                  <a:pt x="4136" y="250"/>
                  <a:pt x="4116" y="252"/>
                </a:cubicBezTo>
                <a:cubicBezTo>
                  <a:pt x="4104" y="253"/>
                  <a:pt x="4095" y="254"/>
                  <a:pt x="4092" y="254"/>
                </a:cubicBezTo>
                <a:cubicBezTo>
                  <a:pt x="4089" y="254"/>
                  <a:pt x="4108" y="260"/>
                  <a:pt x="4123" y="260"/>
                </a:cubicBezTo>
                <a:cubicBezTo>
                  <a:pt x="4138" y="260"/>
                  <a:pt x="4145" y="253"/>
                  <a:pt x="4145" y="253"/>
                </a:cubicBezTo>
                <a:cubicBezTo>
                  <a:pt x="4137" y="265"/>
                  <a:pt x="4137" y="265"/>
                  <a:pt x="4137" y="265"/>
                </a:cubicBezTo>
                <a:cubicBezTo>
                  <a:pt x="4162" y="260"/>
                  <a:pt x="4162" y="260"/>
                  <a:pt x="4162" y="260"/>
                </a:cubicBezTo>
                <a:cubicBezTo>
                  <a:pt x="4177" y="253"/>
                  <a:pt x="4177" y="253"/>
                  <a:pt x="4177" y="253"/>
                </a:cubicBezTo>
                <a:cubicBezTo>
                  <a:pt x="4177" y="261"/>
                  <a:pt x="4177" y="261"/>
                  <a:pt x="4177" y="261"/>
                </a:cubicBezTo>
                <a:cubicBezTo>
                  <a:pt x="4194" y="259"/>
                  <a:pt x="4194" y="259"/>
                  <a:pt x="4194" y="259"/>
                </a:cubicBezTo>
                <a:cubicBezTo>
                  <a:pt x="4210" y="257"/>
                  <a:pt x="4210" y="257"/>
                  <a:pt x="4210" y="257"/>
                </a:cubicBezTo>
                <a:cubicBezTo>
                  <a:pt x="4210" y="257"/>
                  <a:pt x="4211" y="266"/>
                  <a:pt x="4222" y="267"/>
                </a:cubicBezTo>
                <a:cubicBezTo>
                  <a:pt x="4233" y="268"/>
                  <a:pt x="4255" y="254"/>
                  <a:pt x="4255" y="254"/>
                </a:cubicBezTo>
                <a:cubicBezTo>
                  <a:pt x="4260" y="263"/>
                  <a:pt x="4260" y="263"/>
                  <a:pt x="4260" y="263"/>
                </a:cubicBezTo>
                <a:cubicBezTo>
                  <a:pt x="4278" y="253"/>
                  <a:pt x="4278" y="253"/>
                  <a:pt x="4278" y="253"/>
                </a:cubicBezTo>
                <a:cubicBezTo>
                  <a:pt x="4278" y="253"/>
                  <a:pt x="4284" y="261"/>
                  <a:pt x="4292" y="264"/>
                </a:cubicBezTo>
                <a:cubicBezTo>
                  <a:pt x="4301" y="266"/>
                  <a:pt x="4310" y="255"/>
                  <a:pt x="4310" y="255"/>
                </a:cubicBezTo>
                <a:cubicBezTo>
                  <a:pt x="4310" y="255"/>
                  <a:pt x="4319" y="263"/>
                  <a:pt x="4332" y="263"/>
                </a:cubicBezTo>
                <a:cubicBezTo>
                  <a:pt x="4345" y="263"/>
                  <a:pt x="4335" y="251"/>
                  <a:pt x="4335" y="251"/>
                </a:cubicBezTo>
                <a:cubicBezTo>
                  <a:pt x="4373" y="265"/>
                  <a:pt x="4373" y="265"/>
                  <a:pt x="4373" y="265"/>
                </a:cubicBezTo>
                <a:cubicBezTo>
                  <a:pt x="4373" y="265"/>
                  <a:pt x="4380" y="274"/>
                  <a:pt x="4384" y="274"/>
                </a:cubicBezTo>
                <a:cubicBezTo>
                  <a:pt x="4388" y="274"/>
                  <a:pt x="4446" y="261"/>
                  <a:pt x="4457" y="261"/>
                </a:cubicBezTo>
                <a:cubicBezTo>
                  <a:pt x="4468" y="261"/>
                  <a:pt x="4493" y="251"/>
                  <a:pt x="4497" y="244"/>
                </a:cubicBezTo>
                <a:cubicBezTo>
                  <a:pt x="4501" y="238"/>
                  <a:pt x="4455" y="243"/>
                  <a:pt x="4455" y="243"/>
                </a:cubicBezTo>
                <a:cubicBezTo>
                  <a:pt x="4455" y="243"/>
                  <a:pt x="4464" y="236"/>
                  <a:pt x="4457" y="233"/>
                </a:cubicBezTo>
                <a:cubicBezTo>
                  <a:pt x="4451" y="231"/>
                  <a:pt x="4425" y="233"/>
                  <a:pt x="4425" y="233"/>
                </a:cubicBezTo>
                <a:cubicBezTo>
                  <a:pt x="4387" y="227"/>
                  <a:pt x="4387" y="227"/>
                  <a:pt x="4387" y="227"/>
                </a:cubicBezTo>
                <a:cubicBezTo>
                  <a:pt x="4399" y="214"/>
                  <a:pt x="4399" y="214"/>
                  <a:pt x="4399" y="214"/>
                </a:cubicBezTo>
                <a:cubicBezTo>
                  <a:pt x="4441" y="228"/>
                  <a:pt x="4441" y="228"/>
                  <a:pt x="4441" y="228"/>
                </a:cubicBezTo>
                <a:cubicBezTo>
                  <a:pt x="4441" y="228"/>
                  <a:pt x="4496" y="225"/>
                  <a:pt x="4516" y="224"/>
                </a:cubicBezTo>
                <a:cubicBezTo>
                  <a:pt x="4537" y="223"/>
                  <a:pt x="4532" y="205"/>
                  <a:pt x="4532" y="205"/>
                </a:cubicBezTo>
                <a:cubicBezTo>
                  <a:pt x="4532" y="205"/>
                  <a:pt x="4557" y="200"/>
                  <a:pt x="4576" y="200"/>
                </a:cubicBezTo>
                <a:cubicBezTo>
                  <a:pt x="4594" y="200"/>
                  <a:pt x="4632" y="191"/>
                  <a:pt x="4632" y="191"/>
                </a:cubicBezTo>
                <a:cubicBezTo>
                  <a:pt x="4614" y="180"/>
                  <a:pt x="4614" y="180"/>
                  <a:pt x="4614" y="180"/>
                </a:cubicBezTo>
                <a:cubicBezTo>
                  <a:pt x="4614" y="180"/>
                  <a:pt x="4637" y="180"/>
                  <a:pt x="4662" y="174"/>
                </a:cubicBezTo>
                <a:cubicBezTo>
                  <a:pt x="4687" y="169"/>
                  <a:pt x="4629" y="159"/>
                  <a:pt x="4629" y="159"/>
                </a:cubicBezTo>
                <a:cubicBezTo>
                  <a:pt x="4629" y="159"/>
                  <a:pt x="4597" y="160"/>
                  <a:pt x="4586" y="156"/>
                </a:cubicBezTo>
                <a:cubicBezTo>
                  <a:pt x="4576" y="152"/>
                  <a:pt x="4634" y="138"/>
                  <a:pt x="4637" y="139"/>
                </a:cubicBezTo>
                <a:cubicBezTo>
                  <a:pt x="4640" y="140"/>
                  <a:pt x="4682" y="144"/>
                  <a:pt x="4682" y="144"/>
                </a:cubicBezTo>
                <a:cubicBezTo>
                  <a:pt x="4682" y="144"/>
                  <a:pt x="4730" y="142"/>
                  <a:pt x="4745" y="139"/>
                </a:cubicBezTo>
                <a:cubicBezTo>
                  <a:pt x="4760" y="135"/>
                  <a:pt x="4711" y="133"/>
                  <a:pt x="4729" y="126"/>
                </a:cubicBezTo>
                <a:cubicBezTo>
                  <a:pt x="4746" y="118"/>
                  <a:pt x="4778" y="132"/>
                  <a:pt x="4798" y="132"/>
                </a:cubicBezTo>
                <a:cubicBezTo>
                  <a:pt x="4817" y="132"/>
                  <a:pt x="4810" y="115"/>
                  <a:pt x="4810" y="115"/>
                </a:cubicBezTo>
                <a:cubicBezTo>
                  <a:pt x="4858" y="118"/>
                  <a:pt x="4858" y="118"/>
                  <a:pt x="4858" y="118"/>
                </a:cubicBezTo>
                <a:cubicBezTo>
                  <a:pt x="4861" y="104"/>
                  <a:pt x="4861" y="104"/>
                  <a:pt x="4861" y="104"/>
                </a:cubicBezTo>
                <a:cubicBezTo>
                  <a:pt x="4861" y="104"/>
                  <a:pt x="4874" y="108"/>
                  <a:pt x="4883" y="108"/>
                </a:cubicBezTo>
                <a:cubicBezTo>
                  <a:pt x="4891" y="108"/>
                  <a:pt x="4922" y="96"/>
                  <a:pt x="4922" y="96"/>
                </a:cubicBezTo>
                <a:cubicBezTo>
                  <a:pt x="4922" y="96"/>
                  <a:pt x="4981" y="86"/>
                  <a:pt x="5013" y="80"/>
                </a:cubicBezTo>
                <a:cubicBezTo>
                  <a:pt x="5046" y="75"/>
                  <a:pt x="5049" y="70"/>
                  <a:pt x="5044" y="70"/>
                </a:cubicBezTo>
                <a:cubicBezTo>
                  <a:pt x="5040" y="70"/>
                  <a:pt x="4973" y="73"/>
                  <a:pt x="4973" y="73"/>
                </a:cubicBezTo>
                <a:cubicBezTo>
                  <a:pt x="4956" y="80"/>
                  <a:pt x="4956" y="80"/>
                  <a:pt x="4956" y="80"/>
                </a:cubicBezTo>
                <a:cubicBezTo>
                  <a:pt x="4910" y="77"/>
                  <a:pt x="4910" y="77"/>
                  <a:pt x="4910" y="77"/>
                </a:cubicBezTo>
                <a:cubicBezTo>
                  <a:pt x="4963" y="74"/>
                  <a:pt x="4963" y="74"/>
                  <a:pt x="4963" y="74"/>
                </a:cubicBezTo>
                <a:cubicBezTo>
                  <a:pt x="4961" y="65"/>
                  <a:pt x="4961" y="65"/>
                  <a:pt x="4961" y="65"/>
                </a:cubicBezTo>
                <a:cubicBezTo>
                  <a:pt x="4994" y="70"/>
                  <a:pt x="4994" y="70"/>
                  <a:pt x="4994" y="70"/>
                </a:cubicBezTo>
                <a:cubicBezTo>
                  <a:pt x="4994" y="70"/>
                  <a:pt x="4999" y="62"/>
                  <a:pt x="5008" y="62"/>
                </a:cubicBezTo>
                <a:cubicBezTo>
                  <a:pt x="5016" y="62"/>
                  <a:pt x="5117" y="58"/>
                  <a:pt x="5135" y="57"/>
                </a:cubicBezTo>
                <a:cubicBezTo>
                  <a:pt x="5153" y="56"/>
                  <a:pt x="5200" y="43"/>
                  <a:pt x="5197" y="39"/>
                </a:cubicBezTo>
                <a:cubicBezTo>
                  <a:pt x="5195" y="36"/>
                  <a:pt x="5140" y="41"/>
                  <a:pt x="5140" y="41"/>
                </a:cubicBezTo>
                <a:cubicBezTo>
                  <a:pt x="5142" y="31"/>
                  <a:pt x="5142" y="31"/>
                  <a:pt x="5142" y="31"/>
                </a:cubicBezTo>
                <a:cubicBezTo>
                  <a:pt x="5142" y="31"/>
                  <a:pt x="5107" y="23"/>
                  <a:pt x="5094" y="23"/>
                </a:cubicBezTo>
                <a:cubicBezTo>
                  <a:pt x="5081" y="23"/>
                  <a:pt x="5009" y="38"/>
                  <a:pt x="5009" y="38"/>
                </a:cubicBezTo>
                <a:cubicBezTo>
                  <a:pt x="5042" y="23"/>
                  <a:pt x="5042" y="23"/>
                  <a:pt x="5042" y="23"/>
                </a:cubicBezTo>
                <a:cubicBezTo>
                  <a:pt x="4997" y="25"/>
                  <a:pt x="4997" y="25"/>
                  <a:pt x="4997" y="25"/>
                </a:cubicBezTo>
                <a:cubicBezTo>
                  <a:pt x="4997" y="25"/>
                  <a:pt x="4961" y="13"/>
                  <a:pt x="4951" y="15"/>
                </a:cubicBezTo>
                <a:cubicBezTo>
                  <a:pt x="4940" y="17"/>
                  <a:pt x="4935" y="28"/>
                  <a:pt x="4935" y="28"/>
                </a:cubicBezTo>
                <a:cubicBezTo>
                  <a:pt x="4935" y="28"/>
                  <a:pt x="4909" y="16"/>
                  <a:pt x="4900" y="16"/>
                </a:cubicBezTo>
                <a:cubicBezTo>
                  <a:pt x="4891" y="16"/>
                  <a:pt x="4871" y="31"/>
                  <a:pt x="4871" y="31"/>
                </a:cubicBezTo>
                <a:cubicBezTo>
                  <a:pt x="4845" y="23"/>
                  <a:pt x="4845" y="23"/>
                  <a:pt x="4845" y="23"/>
                </a:cubicBezTo>
                <a:cubicBezTo>
                  <a:pt x="4772" y="20"/>
                  <a:pt x="4772" y="20"/>
                  <a:pt x="4772" y="20"/>
                </a:cubicBezTo>
                <a:cubicBezTo>
                  <a:pt x="4790" y="38"/>
                  <a:pt x="4790" y="38"/>
                  <a:pt x="4790" y="38"/>
                </a:cubicBezTo>
                <a:cubicBezTo>
                  <a:pt x="4748" y="24"/>
                  <a:pt x="4748" y="24"/>
                  <a:pt x="4748" y="24"/>
                </a:cubicBezTo>
                <a:cubicBezTo>
                  <a:pt x="4707" y="31"/>
                  <a:pt x="4707" y="31"/>
                  <a:pt x="4707" y="31"/>
                </a:cubicBezTo>
                <a:cubicBezTo>
                  <a:pt x="4707" y="31"/>
                  <a:pt x="4677" y="25"/>
                  <a:pt x="4661" y="25"/>
                </a:cubicBezTo>
                <a:cubicBezTo>
                  <a:pt x="4645" y="25"/>
                  <a:pt x="4596" y="37"/>
                  <a:pt x="4596" y="37"/>
                </a:cubicBezTo>
                <a:cubicBezTo>
                  <a:pt x="4654" y="55"/>
                  <a:pt x="4654" y="55"/>
                  <a:pt x="4654" y="55"/>
                </a:cubicBezTo>
                <a:cubicBezTo>
                  <a:pt x="4596" y="47"/>
                  <a:pt x="4596" y="47"/>
                  <a:pt x="4596" y="47"/>
                </a:cubicBezTo>
                <a:cubicBezTo>
                  <a:pt x="4596" y="47"/>
                  <a:pt x="4541" y="36"/>
                  <a:pt x="4516" y="38"/>
                </a:cubicBezTo>
                <a:cubicBezTo>
                  <a:pt x="4492" y="41"/>
                  <a:pt x="4500" y="55"/>
                  <a:pt x="4500" y="55"/>
                </a:cubicBezTo>
                <a:cubicBezTo>
                  <a:pt x="4500" y="55"/>
                  <a:pt x="4438" y="49"/>
                  <a:pt x="4425" y="49"/>
                </a:cubicBezTo>
                <a:cubicBezTo>
                  <a:pt x="4412" y="49"/>
                  <a:pt x="4312" y="59"/>
                  <a:pt x="4308" y="61"/>
                </a:cubicBezTo>
                <a:cubicBezTo>
                  <a:pt x="4305" y="63"/>
                  <a:pt x="4331" y="69"/>
                  <a:pt x="4331" y="69"/>
                </a:cubicBezTo>
                <a:close/>
                <a:moveTo>
                  <a:pt x="4558" y="1696"/>
                </a:moveTo>
                <a:cubicBezTo>
                  <a:pt x="4605" y="1655"/>
                  <a:pt x="4605" y="1655"/>
                  <a:pt x="4605" y="1655"/>
                </a:cubicBezTo>
                <a:cubicBezTo>
                  <a:pt x="4600" y="1640"/>
                  <a:pt x="4600" y="1640"/>
                  <a:pt x="4600" y="1640"/>
                </a:cubicBezTo>
                <a:cubicBezTo>
                  <a:pt x="4578" y="1649"/>
                  <a:pt x="4578" y="1649"/>
                  <a:pt x="4578" y="1649"/>
                </a:cubicBezTo>
                <a:cubicBezTo>
                  <a:pt x="4558" y="1648"/>
                  <a:pt x="4558" y="1648"/>
                  <a:pt x="4558" y="1648"/>
                </a:cubicBezTo>
                <a:cubicBezTo>
                  <a:pt x="4580" y="1634"/>
                  <a:pt x="4580" y="1634"/>
                  <a:pt x="4580" y="1634"/>
                </a:cubicBezTo>
                <a:cubicBezTo>
                  <a:pt x="4556" y="1633"/>
                  <a:pt x="4556" y="1633"/>
                  <a:pt x="4556" y="1633"/>
                </a:cubicBezTo>
                <a:cubicBezTo>
                  <a:pt x="4556" y="1633"/>
                  <a:pt x="4600" y="1581"/>
                  <a:pt x="4594" y="1580"/>
                </a:cubicBezTo>
                <a:cubicBezTo>
                  <a:pt x="4588" y="1580"/>
                  <a:pt x="4562" y="1577"/>
                  <a:pt x="4570" y="1574"/>
                </a:cubicBezTo>
                <a:cubicBezTo>
                  <a:pt x="4579" y="1571"/>
                  <a:pt x="4589" y="1556"/>
                  <a:pt x="4589" y="1556"/>
                </a:cubicBezTo>
                <a:cubicBezTo>
                  <a:pt x="4576" y="1547"/>
                  <a:pt x="4576" y="1547"/>
                  <a:pt x="4576" y="1547"/>
                </a:cubicBezTo>
                <a:cubicBezTo>
                  <a:pt x="4542" y="1568"/>
                  <a:pt x="4542" y="1568"/>
                  <a:pt x="4542" y="1568"/>
                </a:cubicBezTo>
                <a:cubicBezTo>
                  <a:pt x="4536" y="1549"/>
                  <a:pt x="4536" y="1549"/>
                  <a:pt x="4536" y="1549"/>
                </a:cubicBezTo>
                <a:cubicBezTo>
                  <a:pt x="4516" y="1551"/>
                  <a:pt x="4516" y="1551"/>
                  <a:pt x="4516" y="1551"/>
                </a:cubicBezTo>
                <a:cubicBezTo>
                  <a:pt x="4524" y="1530"/>
                  <a:pt x="4524" y="1530"/>
                  <a:pt x="4524" y="1530"/>
                </a:cubicBezTo>
                <a:cubicBezTo>
                  <a:pt x="4508" y="1524"/>
                  <a:pt x="4508" y="1524"/>
                  <a:pt x="4508" y="1524"/>
                </a:cubicBezTo>
                <a:cubicBezTo>
                  <a:pt x="4494" y="1512"/>
                  <a:pt x="4494" y="1512"/>
                  <a:pt x="4494" y="1512"/>
                </a:cubicBezTo>
                <a:cubicBezTo>
                  <a:pt x="4476" y="1542"/>
                  <a:pt x="4476" y="1542"/>
                  <a:pt x="4476" y="1542"/>
                </a:cubicBezTo>
                <a:cubicBezTo>
                  <a:pt x="4459" y="1555"/>
                  <a:pt x="4459" y="1555"/>
                  <a:pt x="4459" y="1555"/>
                </a:cubicBezTo>
                <a:cubicBezTo>
                  <a:pt x="4461" y="1537"/>
                  <a:pt x="4461" y="1537"/>
                  <a:pt x="4461" y="1537"/>
                </a:cubicBezTo>
                <a:cubicBezTo>
                  <a:pt x="4485" y="1508"/>
                  <a:pt x="4485" y="1508"/>
                  <a:pt x="4485" y="1508"/>
                </a:cubicBezTo>
                <a:cubicBezTo>
                  <a:pt x="4485" y="1508"/>
                  <a:pt x="4500" y="1507"/>
                  <a:pt x="4512" y="1496"/>
                </a:cubicBezTo>
                <a:cubicBezTo>
                  <a:pt x="4524" y="1485"/>
                  <a:pt x="4529" y="1465"/>
                  <a:pt x="4529" y="1465"/>
                </a:cubicBezTo>
                <a:cubicBezTo>
                  <a:pt x="4543" y="1456"/>
                  <a:pt x="4543" y="1456"/>
                  <a:pt x="4543" y="1456"/>
                </a:cubicBezTo>
                <a:cubicBezTo>
                  <a:pt x="4543" y="1456"/>
                  <a:pt x="4558" y="1446"/>
                  <a:pt x="4540" y="1441"/>
                </a:cubicBezTo>
                <a:cubicBezTo>
                  <a:pt x="4523" y="1436"/>
                  <a:pt x="4494" y="1453"/>
                  <a:pt x="4494" y="1453"/>
                </a:cubicBezTo>
                <a:cubicBezTo>
                  <a:pt x="4457" y="1501"/>
                  <a:pt x="4457" y="1501"/>
                  <a:pt x="4457" y="1501"/>
                </a:cubicBezTo>
                <a:cubicBezTo>
                  <a:pt x="4420" y="1537"/>
                  <a:pt x="4420" y="1537"/>
                  <a:pt x="4420" y="1537"/>
                </a:cubicBezTo>
                <a:cubicBezTo>
                  <a:pt x="4364" y="1589"/>
                  <a:pt x="4364" y="1589"/>
                  <a:pt x="4364" y="1589"/>
                </a:cubicBezTo>
                <a:cubicBezTo>
                  <a:pt x="4364" y="1589"/>
                  <a:pt x="4324" y="1606"/>
                  <a:pt x="4322" y="1612"/>
                </a:cubicBezTo>
                <a:cubicBezTo>
                  <a:pt x="4320" y="1619"/>
                  <a:pt x="4348" y="1622"/>
                  <a:pt x="4348" y="1622"/>
                </a:cubicBezTo>
                <a:cubicBezTo>
                  <a:pt x="4348" y="1622"/>
                  <a:pt x="4314" y="1625"/>
                  <a:pt x="4326" y="1637"/>
                </a:cubicBezTo>
                <a:cubicBezTo>
                  <a:pt x="4338" y="1649"/>
                  <a:pt x="4378" y="1635"/>
                  <a:pt x="4378" y="1635"/>
                </a:cubicBezTo>
                <a:cubicBezTo>
                  <a:pt x="4378" y="1635"/>
                  <a:pt x="4450" y="1652"/>
                  <a:pt x="4466" y="1653"/>
                </a:cubicBezTo>
                <a:cubicBezTo>
                  <a:pt x="4482" y="1653"/>
                  <a:pt x="4473" y="1664"/>
                  <a:pt x="4473" y="1664"/>
                </a:cubicBezTo>
                <a:cubicBezTo>
                  <a:pt x="4445" y="1672"/>
                  <a:pt x="4445" y="1672"/>
                  <a:pt x="4445" y="1672"/>
                </a:cubicBezTo>
                <a:cubicBezTo>
                  <a:pt x="4447" y="1675"/>
                  <a:pt x="4447" y="1675"/>
                  <a:pt x="4447" y="1675"/>
                </a:cubicBezTo>
                <a:cubicBezTo>
                  <a:pt x="4472" y="1679"/>
                  <a:pt x="4472" y="1679"/>
                  <a:pt x="4472" y="1679"/>
                </a:cubicBezTo>
                <a:cubicBezTo>
                  <a:pt x="4519" y="1673"/>
                  <a:pt x="4519" y="1673"/>
                  <a:pt x="4519" y="1673"/>
                </a:cubicBezTo>
                <a:cubicBezTo>
                  <a:pt x="4524" y="1678"/>
                  <a:pt x="4524" y="1678"/>
                  <a:pt x="4524" y="1678"/>
                </a:cubicBezTo>
                <a:cubicBezTo>
                  <a:pt x="4546" y="1676"/>
                  <a:pt x="4546" y="1676"/>
                  <a:pt x="4546" y="1676"/>
                </a:cubicBezTo>
                <a:cubicBezTo>
                  <a:pt x="4530" y="1692"/>
                  <a:pt x="4530" y="1692"/>
                  <a:pt x="4530" y="1692"/>
                </a:cubicBezTo>
                <a:lnTo>
                  <a:pt x="4558" y="1696"/>
                </a:lnTo>
                <a:close/>
                <a:moveTo>
                  <a:pt x="5966" y="589"/>
                </a:moveTo>
                <a:cubicBezTo>
                  <a:pt x="5984" y="589"/>
                  <a:pt x="5984" y="589"/>
                  <a:pt x="5984" y="589"/>
                </a:cubicBezTo>
                <a:cubicBezTo>
                  <a:pt x="5993" y="578"/>
                  <a:pt x="5993" y="578"/>
                  <a:pt x="5993" y="578"/>
                </a:cubicBezTo>
                <a:cubicBezTo>
                  <a:pt x="6010" y="578"/>
                  <a:pt x="6010" y="578"/>
                  <a:pt x="6010" y="578"/>
                </a:cubicBezTo>
                <a:cubicBezTo>
                  <a:pt x="6010" y="578"/>
                  <a:pt x="6028" y="561"/>
                  <a:pt x="6032" y="558"/>
                </a:cubicBezTo>
                <a:cubicBezTo>
                  <a:pt x="6036" y="555"/>
                  <a:pt x="6062" y="553"/>
                  <a:pt x="6062" y="553"/>
                </a:cubicBezTo>
                <a:cubicBezTo>
                  <a:pt x="6094" y="542"/>
                  <a:pt x="6094" y="542"/>
                  <a:pt x="6094" y="542"/>
                </a:cubicBezTo>
                <a:cubicBezTo>
                  <a:pt x="6115" y="537"/>
                  <a:pt x="6115" y="537"/>
                  <a:pt x="6115" y="537"/>
                </a:cubicBezTo>
                <a:cubicBezTo>
                  <a:pt x="6120" y="529"/>
                  <a:pt x="6120" y="529"/>
                  <a:pt x="6120" y="529"/>
                </a:cubicBezTo>
                <a:cubicBezTo>
                  <a:pt x="6120" y="529"/>
                  <a:pt x="6100" y="531"/>
                  <a:pt x="6088" y="531"/>
                </a:cubicBezTo>
                <a:cubicBezTo>
                  <a:pt x="6076" y="531"/>
                  <a:pt x="6068" y="524"/>
                  <a:pt x="6053" y="522"/>
                </a:cubicBezTo>
                <a:cubicBezTo>
                  <a:pt x="6038" y="520"/>
                  <a:pt x="6010" y="520"/>
                  <a:pt x="5996" y="524"/>
                </a:cubicBezTo>
                <a:cubicBezTo>
                  <a:pt x="5982" y="528"/>
                  <a:pt x="5962" y="528"/>
                  <a:pt x="5962" y="528"/>
                </a:cubicBezTo>
                <a:cubicBezTo>
                  <a:pt x="5952" y="537"/>
                  <a:pt x="5952" y="537"/>
                  <a:pt x="5952" y="537"/>
                </a:cubicBezTo>
                <a:cubicBezTo>
                  <a:pt x="5952" y="537"/>
                  <a:pt x="5907" y="541"/>
                  <a:pt x="5914" y="535"/>
                </a:cubicBezTo>
                <a:cubicBezTo>
                  <a:pt x="5921" y="529"/>
                  <a:pt x="5981" y="520"/>
                  <a:pt x="5981" y="520"/>
                </a:cubicBezTo>
                <a:cubicBezTo>
                  <a:pt x="5981" y="520"/>
                  <a:pt x="6041" y="508"/>
                  <a:pt x="6026" y="499"/>
                </a:cubicBezTo>
                <a:cubicBezTo>
                  <a:pt x="6011" y="490"/>
                  <a:pt x="6003" y="490"/>
                  <a:pt x="6003" y="490"/>
                </a:cubicBezTo>
                <a:cubicBezTo>
                  <a:pt x="6003" y="490"/>
                  <a:pt x="5948" y="508"/>
                  <a:pt x="5942" y="511"/>
                </a:cubicBezTo>
                <a:cubicBezTo>
                  <a:pt x="5936" y="514"/>
                  <a:pt x="5910" y="512"/>
                  <a:pt x="5910" y="512"/>
                </a:cubicBezTo>
                <a:cubicBezTo>
                  <a:pt x="5934" y="500"/>
                  <a:pt x="5934" y="500"/>
                  <a:pt x="5934" y="500"/>
                </a:cubicBezTo>
                <a:cubicBezTo>
                  <a:pt x="5948" y="489"/>
                  <a:pt x="5948" y="489"/>
                  <a:pt x="5948" y="489"/>
                </a:cubicBezTo>
                <a:cubicBezTo>
                  <a:pt x="5948" y="489"/>
                  <a:pt x="5972" y="493"/>
                  <a:pt x="5979" y="491"/>
                </a:cubicBezTo>
                <a:cubicBezTo>
                  <a:pt x="5986" y="489"/>
                  <a:pt x="6004" y="485"/>
                  <a:pt x="6012" y="485"/>
                </a:cubicBezTo>
                <a:cubicBezTo>
                  <a:pt x="6020" y="485"/>
                  <a:pt x="6042" y="483"/>
                  <a:pt x="6030" y="477"/>
                </a:cubicBezTo>
                <a:cubicBezTo>
                  <a:pt x="6018" y="471"/>
                  <a:pt x="5980" y="470"/>
                  <a:pt x="5980" y="470"/>
                </a:cubicBezTo>
                <a:cubicBezTo>
                  <a:pt x="5948" y="472"/>
                  <a:pt x="5948" y="472"/>
                  <a:pt x="5948" y="472"/>
                </a:cubicBezTo>
                <a:cubicBezTo>
                  <a:pt x="5964" y="465"/>
                  <a:pt x="5964" y="465"/>
                  <a:pt x="5964" y="465"/>
                </a:cubicBezTo>
                <a:cubicBezTo>
                  <a:pt x="5948" y="455"/>
                  <a:pt x="5948" y="455"/>
                  <a:pt x="5948" y="455"/>
                </a:cubicBezTo>
                <a:cubicBezTo>
                  <a:pt x="5948" y="455"/>
                  <a:pt x="5946" y="446"/>
                  <a:pt x="5950" y="446"/>
                </a:cubicBezTo>
                <a:cubicBezTo>
                  <a:pt x="5954" y="446"/>
                  <a:pt x="5974" y="463"/>
                  <a:pt x="5987" y="464"/>
                </a:cubicBezTo>
                <a:cubicBezTo>
                  <a:pt x="6000" y="465"/>
                  <a:pt x="6041" y="477"/>
                  <a:pt x="6041" y="477"/>
                </a:cubicBezTo>
                <a:cubicBezTo>
                  <a:pt x="6041" y="477"/>
                  <a:pt x="6059" y="469"/>
                  <a:pt x="6060" y="478"/>
                </a:cubicBezTo>
                <a:cubicBezTo>
                  <a:pt x="6061" y="487"/>
                  <a:pt x="6049" y="501"/>
                  <a:pt x="6070" y="507"/>
                </a:cubicBezTo>
                <a:cubicBezTo>
                  <a:pt x="6091" y="513"/>
                  <a:pt x="6114" y="514"/>
                  <a:pt x="6114" y="514"/>
                </a:cubicBezTo>
                <a:cubicBezTo>
                  <a:pt x="6114" y="514"/>
                  <a:pt x="6116" y="499"/>
                  <a:pt x="6120" y="502"/>
                </a:cubicBezTo>
                <a:cubicBezTo>
                  <a:pt x="6124" y="505"/>
                  <a:pt x="6120" y="520"/>
                  <a:pt x="6129" y="520"/>
                </a:cubicBezTo>
                <a:cubicBezTo>
                  <a:pt x="6138" y="520"/>
                  <a:pt x="6150" y="510"/>
                  <a:pt x="6150" y="510"/>
                </a:cubicBezTo>
                <a:cubicBezTo>
                  <a:pt x="6150" y="494"/>
                  <a:pt x="6150" y="494"/>
                  <a:pt x="6150" y="494"/>
                </a:cubicBezTo>
                <a:cubicBezTo>
                  <a:pt x="6144" y="492"/>
                  <a:pt x="6144" y="492"/>
                  <a:pt x="6144" y="492"/>
                </a:cubicBezTo>
                <a:cubicBezTo>
                  <a:pt x="6144" y="492"/>
                  <a:pt x="6158" y="481"/>
                  <a:pt x="6152" y="476"/>
                </a:cubicBezTo>
                <a:cubicBezTo>
                  <a:pt x="6146" y="471"/>
                  <a:pt x="6135" y="477"/>
                  <a:pt x="6135" y="477"/>
                </a:cubicBezTo>
                <a:cubicBezTo>
                  <a:pt x="6129" y="462"/>
                  <a:pt x="6129" y="462"/>
                  <a:pt x="6129" y="462"/>
                </a:cubicBezTo>
                <a:cubicBezTo>
                  <a:pt x="6118" y="459"/>
                  <a:pt x="6118" y="459"/>
                  <a:pt x="6118" y="459"/>
                </a:cubicBezTo>
                <a:cubicBezTo>
                  <a:pt x="6121" y="449"/>
                  <a:pt x="6121" y="449"/>
                  <a:pt x="6121" y="449"/>
                </a:cubicBezTo>
                <a:cubicBezTo>
                  <a:pt x="6073" y="430"/>
                  <a:pt x="6073" y="430"/>
                  <a:pt x="6073" y="430"/>
                </a:cubicBezTo>
                <a:cubicBezTo>
                  <a:pt x="6046" y="437"/>
                  <a:pt x="6046" y="437"/>
                  <a:pt x="6046" y="437"/>
                </a:cubicBezTo>
                <a:cubicBezTo>
                  <a:pt x="6040" y="434"/>
                  <a:pt x="6040" y="434"/>
                  <a:pt x="6040" y="434"/>
                </a:cubicBezTo>
                <a:cubicBezTo>
                  <a:pt x="6062" y="427"/>
                  <a:pt x="6062" y="427"/>
                  <a:pt x="6062" y="427"/>
                </a:cubicBezTo>
                <a:cubicBezTo>
                  <a:pt x="6064" y="424"/>
                  <a:pt x="6064" y="424"/>
                  <a:pt x="6064" y="424"/>
                </a:cubicBezTo>
                <a:cubicBezTo>
                  <a:pt x="6064" y="424"/>
                  <a:pt x="6063" y="415"/>
                  <a:pt x="6046" y="415"/>
                </a:cubicBezTo>
                <a:cubicBezTo>
                  <a:pt x="6029" y="415"/>
                  <a:pt x="5996" y="412"/>
                  <a:pt x="5996" y="412"/>
                </a:cubicBezTo>
                <a:cubicBezTo>
                  <a:pt x="6007" y="398"/>
                  <a:pt x="6007" y="398"/>
                  <a:pt x="6007" y="398"/>
                </a:cubicBezTo>
                <a:cubicBezTo>
                  <a:pt x="6007" y="398"/>
                  <a:pt x="6020" y="396"/>
                  <a:pt x="6030" y="400"/>
                </a:cubicBezTo>
                <a:cubicBezTo>
                  <a:pt x="6040" y="404"/>
                  <a:pt x="6056" y="393"/>
                  <a:pt x="6056" y="393"/>
                </a:cubicBezTo>
                <a:cubicBezTo>
                  <a:pt x="6074" y="390"/>
                  <a:pt x="6074" y="390"/>
                  <a:pt x="6074" y="390"/>
                </a:cubicBezTo>
                <a:cubicBezTo>
                  <a:pt x="6106" y="400"/>
                  <a:pt x="6106" y="400"/>
                  <a:pt x="6106" y="400"/>
                </a:cubicBezTo>
                <a:cubicBezTo>
                  <a:pt x="6120" y="397"/>
                  <a:pt x="6120" y="397"/>
                  <a:pt x="6120" y="397"/>
                </a:cubicBezTo>
                <a:cubicBezTo>
                  <a:pt x="6120" y="397"/>
                  <a:pt x="6146" y="418"/>
                  <a:pt x="6157" y="418"/>
                </a:cubicBezTo>
                <a:cubicBezTo>
                  <a:pt x="6168" y="418"/>
                  <a:pt x="6164" y="404"/>
                  <a:pt x="6164" y="404"/>
                </a:cubicBezTo>
                <a:cubicBezTo>
                  <a:pt x="6138" y="400"/>
                  <a:pt x="6138" y="400"/>
                  <a:pt x="6138" y="400"/>
                </a:cubicBezTo>
                <a:cubicBezTo>
                  <a:pt x="6118" y="390"/>
                  <a:pt x="6118" y="390"/>
                  <a:pt x="6118" y="390"/>
                </a:cubicBezTo>
                <a:cubicBezTo>
                  <a:pt x="6087" y="387"/>
                  <a:pt x="6087" y="387"/>
                  <a:pt x="6087" y="387"/>
                </a:cubicBezTo>
                <a:cubicBezTo>
                  <a:pt x="6087" y="387"/>
                  <a:pt x="6094" y="378"/>
                  <a:pt x="6101" y="375"/>
                </a:cubicBezTo>
                <a:cubicBezTo>
                  <a:pt x="6108" y="372"/>
                  <a:pt x="6125" y="390"/>
                  <a:pt x="6141" y="390"/>
                </a:cubicBezTo>
                <a:cubicBezTo>
                  <a:pt x="6157" y="390"/>
                  <a:pt x="6185" y="391"/>
                  <a:pt x="6185" y="391"/>
                </a:cubicBezTo>
                <a:cubicBezTo>
                  <a:pt x="6227" y="386"/>
                  <a:pt x="6227" y="386"/>
                  <a:pt x="6227" y="386"/>
                </a:cubicBezTo>
                <a:cubicBezTo>
                  <a:pt x="6228" y="368"/>
                  <a:pt x="6228" y="368"/>
                  <a:pt x="6228" y="368"/>
                </a:cubicBezTo>
                <a:cubicBezTo>
                  <a:pt x="6199" y="361"/>
                  <a:pt x="6199" y="361"/>
                  <a:pt x="6199" y="361"/>
                </a:cubicBezTo>
                <a:cubicBezTo>
                  <a:pt x="6184" y="371"/>
                  <a:pt x="6184" y="371"/>
                  <a:pt x="6184" y="371"/>
                </a:cubicBezTo>
                <a:cubicBezTo>
                  <a:pt x="6184" y="371"/>
                  <a:pt x="6170" y="359"/>
                  <a:pt x="6174" y="355"/>
                </a:cubicBezTo>
                <a:cubicBezTo>
                  <a:pt x="6178" y="351"/>
                  <a:pt x="6210" y="354"/>
                  <a:pt x="6210" y="354"/>
                </a:cubicBezTo>
                <a:cubicBezTo>
                  <a:pt x="6239" y="346"/>
                  <a:pt x="6239" y="346"/>
                  <a:pt x="6239" y="346"/>
                </a:cubicBezTo>
                <a:cubicBezTo>
                  <a:pt x="6239" y="346"/>
                  <a:pt x="6256" y="356"/>
                  <a:pt x="6269" y="352"/>
                </a:cubicBezTo>
                <a:cubicBezTo>
                  <a:pt x="6282" y="348"/>
                  <a:pt x="6295" y="339"/>
                  <a:pt x="6290" y="337"/>
                </a:cubicBezTo>
                <a:cubicBezTo>
                  <a:pt x="6285" y="335"/>
                  <a:pt x="6243" y="334"/>
                  <a:pt x="6239" y="334"/>
                </a:cubicBezTo>
                <a:cubicBezTo>
                  <a:pt x="6235" y="334"/>
                  <a:pt x="6243" y="326"/>
                  <a:pt x="6231" y="323"/>
                </a:cubicBezTo>
                <a:cubicBezTo>
                  <a:pt x="6219" y="320"/>
                  <a:pt x="6191" y="321"/>
                  <a:pt x="6191" y="321"/>
                </a:cubicBezTo>
                <a:cubicBezTo>
                  <a:pt x="6191" y="321"/>
                  <a:pt x="6225" y="320"/>
                  <a:pt x="6228" y="314"/>
                </a:cubicBezTo>
                <a:cubicBezTo>
                  <a:pt x="6231" y="308"/>
                  <a:pt x="6192" y="301"/>
                  <a:pt x="6192" y="301"/>
                </a:cubicBezTo>
                <a:cubicBezTo>
                  <a:pt x="6192" y="301"/>
                  <a:pt x="6214" y="296"/>
                  <a:pt x="6221" y="299"/>
                </a:cubicBezTo>
                <a:cubicBezTo>
                  <a:pt x="6228" y="302"/>
                  <a:pt x="6252" y="310"/>
                  <a:pt x="6258" y="308"/>
                </a:cubicBezTo>
                <a:cubicBezTo>
                  <a:pt x="6264" y="306"/>
                  <a:pt x="6266" y="320"/>
                  <a:pt x="6276" y="316"/>
                </a:cubicBezTo>
                <a:cubicBezTo>
                  <a:pt x="6286" y="312"/>
                  <a:pt x="6294" y="294"/>
                  <a:pt x="6287" y="289"/>
                </a:cubicBezTo>
                <a:cubicBezTo>
                  <a:pt x="6280" y="284"/>
                  <a:pt x="6263" y="272"/>
                  <a:pt x="6263" y="272"/>
                </a:cubicBezTo>
                <a:cubicBezTo>
                  <a:pt x="6224" y="264"/>
                  <a:pt x="6224" y="264"/>
                  <a:pt x="6224" y="264"/>
                </a:cubicBezTo>
                <a:cubicBezTo>
                  <a:pt x="6224" y="264"/>
                  <a:pt x="6206" y="256"/>
                  <a:pt x="6213" y="250"/>
                </a:cubicBezTo>
                <a:cubicBezTo>
                  <a:pt x="6220" y="244"/>
                  <a:pt x="6242" y="249"/>
                  <a:pt x="6242" y="249"/>
                </a:cubicBezTo>
                <a:cubicBezTo>
                  <a:pt x="6273" y="242"/>
                  <a:pt x="6273" y="242"/>
                  <a:pt x="6273" y="242"/>
                </a:cubicBezTo>
                <a:cubicBezTo>
                  <a:pt x="6273" y="242"/>
                  <a:pt x="6284" y="244"/>
                  <a:pt x="6316" y="246"/>
                </a:cubicBezTo>
                <a:cubicBezTo>
                  <a:pt x="6348" y="248"/>
                  <a:pt x="6363" y="225"/>
                  <a:pt x="6340" y="223"/>
                </a:cubicBezTo>
                <a:cubicBezTo>
                  <a:pt x="6317" y="221"/>
                  <a:pt x="6283" y="221"/>
                  <a:pt x="6283" y="221"/>
                </a:cubicBezTo>
                <a:cubicBezTo>
                  <a:pt x="6282" y="211"/>
                  <a:pt x="6282" y="211"/>
                  <a:pt x="6282" y="211"/>
                </a:cubicBezTo>
                <a:cubicBezTo>
                  <a:pt x="6302" y="210"/>
                  <a:pt x="6302" y="210"/>
                  <a:pt x="6302" y="210"/>
                </a:cubicBezTo>
                <a:cubicBezTo>
                  <a:pt x="6302" y="210"/>
                  <a:pt x="6296" y="195"/>
                  <a:pt x="6280" y="197"/>
                </a:cubicBezTo>
                <a:cubicBezTo>
                  <a:pt x="6264" y="199"/>
                  <a:pt x="6276" y="215"/>
                  <a:pt x="6267" y="216"/>
                </a:cubicBezTo>
                <a:cubicBezTo>
                  <a:pt x="6258" y="217"/>
                  <a:pt x="6233" y="204"/>
                  <a:pt x="6242" y="201"/>
                </a:cubicBezTo>
                <a:cubicBezTo>
                  <a:pt x="6251" y="198"/>
                  <a:pt x="6275" y="193"/>
                  <a:pt x="6278" y="185"/>
                </a:cubicBezTo>
                <a:cubicBezTo>
                  <a:pt x="6281" y="177"/>
                  <a:pt x="6291" y="165"/>
                  <a:pt x="6294" y="164"/>
                </a:cubicBezTo>
                <a:cubicBezTo>
                  <a:pt x="6297" y="163"/>
                  <a:pt x="6311" y="170"/>
                  <a:pt x="6320" y="165"/>
                </a:cubicBezTo>
                <a:cubicBezTo>
                  <a:pt x="6329" y="160"/>
                  <a:pt x="6342" y="151"/>
                  <a:pt x="6342" y="151"/>
                </a:cubicBezTo>
                <a:cubicBezTo>
                  <a:pt x="6332" y="141"/>
                  <a:pt x="6332" y="141"/>
                  <a:pt x="6332" y="141"/>
                </a:cubicBezTo>
                <a:cubicBezTo>
                  <a:pt x="6332" y="141"/>
                  <a:pt x="6358" y="128"/>
                  <a:pt x="6364" y="128"/>
                </a:cubicBezTo>
                <a:cubicBezTo>
                  <a:pt x="6370" y="128"/>
                  <a:pt x="6380" y="138"/>
                  <a:pt x="6388" y="132"/>
                </a:cubicBezTo>
                <a:cubicBezTo>
                  <a:pt x="6396" y="126"/>
                  <a:pt x="6416" y="122"/>
                  <a:pt x="6404" y="119"/>
                </a:cubicBezTo>
                <a:cubicBezTo>
                  <a:pt x="6392" y="116"/>
                  <a:pt x="6363" y="119"/>
                  <a:pt x="6363" y="119"/>
                </a:cubicBezTo>
                <a:cubicBezTo>
                  <a:pt x="6363" y="119"/>
                  <a:pt x="6308" y="134"/>
                  <a:pt x="6319" y="123"/>
                </a:cubicBezTo>
                <a:cubicBezTo>
                  <a:pt x="6330" y="112"/>
                  <a:pt x="6352" y="111"/>
                  <a:pt x="6352" y="111"/>
                </a:cubicBezTo>
                <a:cubicBezTo>
                  <a:pt x="6352" y="111"/>
                  <a:pt x="6393" y="113"/>
                  <a:pt x="6414" y="112"/>
                </a:cubicBezTo>
                <a:cubicBezTo>
                  <a:pt x="6435" y="111"/>
                  <a:pt x="6451" y="104"/>
                  <a:pt x="6451" y="104"/>
                </a:cubicBezTo>
                <a:cubicBezTo>
                  <a:pt x="6451" y="104"/>
                  <a:pt x="6416" y="95"/>
                  <a:pt x="6410" y="98"/>
                </a:cubicBezTo>
                <a:cubicBezTo>
                  <a:pt x="6404" y="101"/>
                  <a:pt x="6365" y="102"/>
                  <a:pt x="6365" y="102"/>
                </a:cubicBezTo>
                <a:cubicBezTo>
                  <a:pt x="6365" y="102"/>
                  <a:pt x="6318" y="105"/>
                  <a:pt x="6335" y="100"/>
                </a:cubicBezTo>
                <a:cubicBezTo>
                  <a:pt x="6352" y="95"/>
                  <a:pt x="6403" y="94"/>
                  <a:pt x="6403" y="94"/>
                </a:cubicBezTo>
                <a:cubicBezTo>
                  <a:pt x="6403" y="94"/>
                  <a:pt x="6469" y="95"/>
                  <a:pt x="6480" y="92"/>
                </a:cubicBezTo>
                <a:cubicBezTo>
                  <a:pt x="6491" y="89"/>
                  <a:pt x="6500" y="79"/>
                  <a:pt x="6500" y="79"/>
                </a:cubicBezTo>
                <a:cubicBezTo>
                  <a:pt x="6500" y="79"/>
                  <a:pt x="6527" y="80"/>
                  <a:pt x="6544" y="78"/>
                </a:cubicBezTo>
                <a:cubicBezTo>
                  <a:pt x="6561" y="76"/>
                  <a:pt x="6584" y="67"/>
                  <a:pt x="6584" y="67"/>
                </a:cubicBezTo>
                <a:cubicBezTo>
                  <a:pt x="6584" y="67"/>
                  <a:pt x="6558" y="57"/>
                  <a:pt x="6538" y="57"/>
                </a:cubicBezTo>
                <a:cubicBezTo>
                  <a:pt x="6518" y="57"/>
                  <a:pt x="6450" y="51"/>
                  <a:pt x="6445" y="57"/>
                </a:cubicBezTo>
                <a:cubicBezTo>
                  <a:pt x="6440" y="63"/>
                  <a:pt x="6415" y="69"/>
                  <a:pt x="6404" y="69"/>
                </a:cubicBezTo>
                <a:cubicBezTo>
                  <a:pt x="6393" y="69"/>
                  <a:pt x="6348" y="60"/>
                  <a:pt x="6340" y="64"/>
                </a:cubicBezTo>
                <a:cubicBezTo>
                  <a:pt x="6332" y="68"/>
                  <a:pt x="6280" y="83"/>
                  <a:pt x="6274" y="86"/>
                </a:cubicBezTo>
                <a:cubicBezTo>
                  <a:pt x="6268" y="89"/>
                  <a:pt x="6216" y="101"/>
                  <a:pt x="6225" y="94"/>
                </a:cubicBezTo>
                <a:cubicBezTo>
                  <a:pt x="6234" y="87"/>
                  <a:pt x="6308" y="71"/>
                  <a:pt x="6303" y="61"/>
                </a:cubicBezTo>
                <a:cubicBezTo>
                  <a:pt x="6298" y="51"/>
                  <a:pt x="6269" y="48"/>
                  <a:pt x="6258" y="52"/>
                </a:cubicBezTo>
                <a:cubicBezTo>
                  <a:pt x="6247" y="56"/>
                  <a:pt x="6229" y="63"/>
                  <a:pt x="6229" y="63"/>
                </a:cubicBezTo>
                <a:cubicBezTo>
                  <a:pt x="6150" y="73"/>
                  <a:pt x="6150" y="73"/>
                  <a:pt x="6150" y="73"/>
                </a:cubicBezTo>
                <a:cubicBezTo>
                  <a:pt x="6150" y="73"/>
                  <a:pt x="6224" y="55"/>
                  <a:pt x="6206" y="54"/>
                </a:cubicBezTo>
                <a:cubicBezTo>
                  <a:pt x="6188" y="53"/>
                  <a:pt x="6120" y="52"/>
                  <a:pt x="6120" y="52"/>
                </a:cubicBezTo>
                <a:cubicBezTo>
                  <a:pt x="6096" y="57"/>
                  <a:pt x="6096" y="57"/>
                  <a:pt x="6096" y="57"/>
                </a:cubicBezTo>
                <a:cubicBezTo>
                  <a:pt x="6051" y="53"/>
                  <a:pt x="6051" y="53"/>
                  <a:pt x="6051" y="53"/>
                </a:cubicBezTo>
                <a:cubicBezTo>
                  <a:pt x="6051" y="53"/>
                  <a:pt x="6000" y="68"/>
                  <a:pt x="6002" y="61"/>
                </a:cubicBezTo>
                <a:cubicBezTo>
                  <a:pt x="6004" y="54"/>
                  <a:pt x="6064" y="47"/>
                  <a:pt x="6085" y="47"/>
                </a:cubicBezTo>
                <a:cubicBezTo>
                  <a:pt x="6106" y="47"/>
                  <a:pt x="6241" y="45"/>
                  <a:pt x="6250" y="45"/>
                </a:cubicBezTo>
                <a:cubicBezTo>
                  <a:pt x="6259" y="45"/>
                  <a:pt x="6338" y="43"/>
                  <a:pt x="6329" y="35"/>
                </a:cubicBezTo>
                <a:cubicBezTo>
                  <a:pt x="6320" y="27"/>
                  <a:pt x="6270" y="24"/>
                  <a:pt x="6251" y="27"/>
                </a:cubicBezTo>
                <a:cubicBezTo>
                  <a:pt x="6232" y="30"/>
                  <a:pt x="6219" y="29"/>
                  <a:pt x="6219" y="29"/>
                </a:cubicBezTo>
                <a:cubicBezTo>
                  <a:pt x="6219" y="29"/>
                  <a:pt x="6244" y="18"/>
                  <a:pt x="6228" y="17"/>
                </a:cubicBezTo>
                <a:cubicBezTo>
                  <a:pt x="6212" y="16"/>
                  <a:pt x="6185" y="19"/>
                  <a:pt x="6185" y="19"/>
                </a:cubicBezTo>
                <a:cubicBezTo>
                  <a:pt x="6185" y="19"/>
                  <a:pt x="6155" y="18"/>
                  <a:pt x="6148" y="16"/>
                </a:cubicBezTo>
                <a:cubicBezTo>
                  <a:pt x="6141" y="14"/>
                  <a:pt x="6176" y="17"/>
                  <a:pt x="6183" y="10"/>
                </a:cubicBezTo>
                <a:cubicBezTo>
                  <a:pt x="6190" y="3"/>
                  <a:pt x="6147" y="5"/>
                  <a:pt x="6125" y="5"/>
                </a:cubicBezTo>
                <a:cubicBezTo>
                  <a:pt x="6103" y="5"/>
                  <a:pt x="6048" y="8"/>
                  <a:pt x="6048" y="8"/>
                </a:cubicBezTo>
                <a:cubicBezTo>
                  <a:pt x="6048" y="8"/>
                  <a:pt x="6008" y="4"/>
                  <a:pt x="5985" y="2"/>
                </a:cubicBezTo>
                <a:cubicBezTo>
                  <a:pt x="5962" y="0"/>
                  <a:pt x="5939" y="5"/>
                  <a:pt x="5930" y="6"/>
                </a:cubicBezTo>
                <a:cubicBezTo>
                  <a:pt x="5921" y="7"/>
                  <a:pt x="5903" y="7"/>
                  <a:pt x="5881" y="6"/>
                </a:cubicBezTo>
                <a:cubicBezTo>
                  <a:pt x="5859" y="5"/>
                  <a:pt x="5837" y="5"/>
                  <a:pt x="5839" y="10"/>
                </a:cubicBezTo>
                <a:cubicBezTo>
                  <a:pt x="5841" y="15"/>
                  <a:pt x="5870" y="16"/>
                  <a:pt x="5870" y="16"/>
                </a:cubicBezTo>
                <a:cubicBezTo>
                  <a:pt x="5870" y="16"/>
                  <a:pt x="5835" y="21"/>
                  <a:pt x="5822" y="20"/>
                </a:cubicBezTo>
                <a:cubicBezTo>
                  <a:pt x="5809" y="19"/>
                  <a:pt x="5754" y="13"/>
                  <a:pt x="5740" y="11"/>
                </a:cubicBezTo>
                <a:cubicBezTo>
                  <a:pt x="5726" y="9"/>
                  <a:pt x="5688" y="13"/>
                  <a:pt x="5683" y="13"/>
                </a:cubicBezTo>
                <a:cubicBezTo>
                  <a:pt x="5678" y="13"/>
                  <a:pt x="5628" y="19"/>
                  <a:pt x="5649" y="24"/>
                </a:cubicBezTo>
                <a:cubicBezTo>
                  <a:pt x="5670" y="29"/>
                  <a:pt x="5739" y="31"/>
                  <a:pt x="5739" y="31"/>
                </a:cubicBezTo>
                <a:cubicBezTo>
                  <a:pt x="5796" y="38"/>
                  <a:pt x="5796" y="38"/>
                  <a:pt x="5796" y="38"/>
                </a:cubicBezTo>
                <a:cubicBezTo>
                  <a:pt x="5796" y="38"/>
                  <a:pt x="5741" y="40"/>
                  <a:pt x="5733" y="40"/>
                </a:cubicBezTo>
                <a:cubicBezTo>
                  <a:pt x="5725" y="40"/>
                  <a:pt x="5677" y="27"/>
                  <a:pt x="5678" y="31"/>
                </a:cubicBezTo>
                <a:cubicBezTo>
                  <a:pt x="5679" y="35"/>
                  <a:pt x="5699" y="38"/>
                  <a:pt x="5699" y="38"/>
                </a:cubicBezTo>
                <a:cubicBezTo>
                  <a:pt x="5668" y="41"/>
                  <a:pt x="5668" y="41"/>
                  <a:pt x="5668" y="41"/>
                </a:cubicBezTo>
                <a:cubicBezTo>
                  <a:pt x="5668" y="41"/>
                  <a:pt x="5651" y="55"/>
                  <a:pt x="5655" y="59"/>
                </a:cubicBezTo>
                <a:cubicBezTo>
                  <a:pt x="5659" y="63"/>
                  <a:pt x="5631" y="64"/>
                  <a:pt x="5618" y="56"/>
                </a:cubicBezTo>
                <a:cubicBezTo>
                  <a:pt x="5605" y="48"/>
                  <a:pt x="5578" y="42"/>
                  <a:pt x="5552" y="40"/>
                </a:cubicBezTo>
                <a:cubicBezTo>
                  <a:pt x="5526" y="38"/>
                  <a:pt x="5497" y="38"/>
                  <a:pt x="5497" y="38"/>
                </a:cubicBezTo>
                <a:cubicBezTo>
                  <a:pt x="5499" y="58"/>
                  <a:pt x="5499" y="58"/>
                  <a:pt x="5499" y="58"/>
                </a:cubicBezTo>
                <a:cubicBezTo>
                  <a:pt x="5499" y="58"/>
                  <a:pt x="5479" y="61"/>
                  <a:pt x="5466" y="59"/>
                </a:cubicBezTo>
                <a:cubicBezTo>
                  <a:pt x="5453" y="57"/>
                  <a:pt x="5429" y="49"/>
                  <a:pt x="5421" y="51"/>
                </a:cubicBezTo>
                <a:cubicBezTo>
                  <a:pt x="5413" y="53"/>
                  <a:pt x="5395" y="62"/>
                  <a:pt x="5395" y="62"/>
                </a:cubicBezTo>
                <a:cubicBezTo>
                  <a:pt x="5395" y="62"/>
                  <a:pt x="5406" y="44"/>
                  <a:pt x="5393" y="44"/>
                </a:cubicBezTo>
                <a:cubicBezTo>
                  <a:pt x="5380" y="44"/>
                  <a:pt x="5309" y="45"/>
                  <a:pt x="5290" y="48"/>
                </a:cubicBezTo>
                <a:cubicBezTo>
                  <a:pt x="5271" y="51"/>
                  <a:pt x="5238" y="44"/>
                  <a:pt x="5243" y="49"/>
                </a:cubicBezTo>
                <a:cubicBezTo>
                  <a:pt x="5248" y="54"/>
                  <a:pt x="5283" y="71"/>
                  <a:pt x="5283" y="71"/>
                </a:cubicBezTo>
                <a:cubicBezTo>
                  <a:pt x="5283" y="71"/>
                  <a:pt x="5229" y="54"/>
                  <a:pt x="5220" y="54"/>
                </a:cubicBezTo>
                <a:cubicBezTo>
                  <a:pt x="5211" y="54"/>
                  <a:pt x="5184" y="49"/>
                  <a:pt x="5180" y="59"/>
                </a:cubicBezTo>
                <a:cubicBezTo>
                  <a:pt x="5176" y="69"/>
                  <a:pt x="5158" y="80"/>
                  <a:pt x="5145" y="80"/>
                </a:cubicBezTo>
                <a:cubicBezTo>
                  <a:pt x="5132" y="80"/>
                  <a:pt x="5095" y="80"/>
                  <a:pt x="5095" y="80"/>
                </a:cubicBezTo>
                <a:cubicBezTo>
                  <a:pt x="5095" y="80"/>
                  <a:pt x="5021" y="94"/>
                  <a:pt x="5017" y="95"/>
                </a:cubicBezTo>
                <a:cubicBezTo>
                  <a:pt x="5013" y="96"/>
                  <a:pt x="4941" y="106"/>
                  <a:pt x="4952" y="113"/>
                </a:cubicBezTo>
                <a:cubicBezTo>
                  <a:pt x="4963" y="120"/>
                  <a:pt x="5003" y="122"/>
                  <a:pt x="5008" y="121"/>
                </a:cubicBezTo>
                <a:cubicBezTo>
                  <a:pt x="5013" y="120"/>
                  <a:pt x="5028" y="118"/>
                  <a:pt x="5028" y="118"/>
                </a:cubicBezTo>
                <a:cubicBezTo>
                  <a:pt x="5004" y="128"/>
                  <a:pt x="5004" y="128"/>
                  <a:pt x="5004" y="128"/>
                </a:cubicBezTo>
                <a:cubicBezTo>
                  <a:pt x="4993" y="139"/>
                  <a:pt x="4993" y="139"/>
                  <a:pt x="4993" y="139"/>
                </a:cubicBezTo>
                <a:cubicBezTo>
                  <a:pt x="4993" y="139"/>
                  <a:pt x="4946" y="157"/>
                  <a:pt x="4929" y="157"/>
                </a:cubicBezTo>
                <a:cubicBezTo>
                  <a:pt x="4912" y="157"/>
                  <a:pt x="4844" y="157"/>
                  <a:pt x="4830" y="169"/>
                </a:cubicBezTo>
                <a:cubicBezTo>
                  <a:pt x="4816" y="181"/>
                  <a:pt x="4805" y="167"/>
                  <a:pt x="4805" y="167"/>
                </a:cubicBezTo>
                <a:cubicBezTo>
                  <a:pt x="4783" y="176"/>
                  <a:pt x="4783" y="176"/>
                  <a:pt x="4783" y="176"/>
                </a:cubicBezTo>
                <a:cubicBezTo>
                  <a:pt x="4750" y="175"/>
                  <a:pt x="4750" y="175"/>
                  <a:pt x="4750" y="175"/>
                </a:cubicBezTo>
                <a:cubicBezTo>
                  <a:pt x="4750" y="175"/>
                  <a:pt x="4693" y="181"/>
                  <a:pt x="4707" y="191"/>
                </a:cubicBezTo>
                <a:cubicBezTo>
                  <a:pt x="4721" y="201"/>
                  <a:pt x="4744" y="212"/>
                  <a:pt x="4744" y="212"/>
                </a:cubicBezTo>
                <a:cubicBezTo>
                  <a:pt x="4764" y="204"/>
                  <a:pt x="4764" y="204"/>
                  <a:pt x="4764" y="204"/>
                </a:cubicBezTo>
                <a:cubicBezTo>
                  <a:pt x="4764" y="204"/>
                  <a:pt x="4766" y="216"/>
                  <a:pt x="4776" y="219"/>
                </a:cubicBezTo>
                <a:cubicBezTo>
                  <a:pt x="4786" y="222"/>
                  <a:pt x="4809" y="209"/>
                  <a:pt x="4809" y="209"/>
                </a:cubicBezTo>
                <a:cubicBezTo>
                  <a:pt x="4809" y="209"/>
                  <a:pt x="4805" y="220"/>
                  <a:pt x="4815" y="220"/>
                </a:cubicBezTo>
                <a:cubicBezTo>
                  <a:pt x="4825" y="220"/>
                  <a:pt x="4862" y="204"/>
                  <a:pt x="4869" y="209"/>
                </a:cubicBezTo>
                <a:cubicBezTo>
                  <a:pt x="4876" y="214"/>
                  <a:pt x="4874" y="220"/>
                  <a:pt x="4874" y="220"/>
                </a:cubicBezTo>
                <a:cubicBezTo>
                  <a:pt x="4863" y="221"/>
                  <a:pt x="4863" y="221"/>
                  <a:pt x="4863" y="221"/>
                </a:cubicBezTo>
                <a:cubicBezTo>
                  <a:pt x="4863" y="221"/>
                  <a:pt x="4855" y="232"/>
                  <a:pt x="4848" y="232"/>
                </a:cubicBezTo>
                <a:cubicBezTo>
                  <a:pt x="4841" y="232"/>
                  <a:pt x="4845" y="226"/>
                  <a:pt x="4834" y="226"/>
                </a:cubicBezTo>
                <a:cubicBezTo>
                  <a:pt x="4823" y="226"/>
                  <a:pt x="4789" y="231"/>
                  <a:pt x="4789" y="231"/>
                </a:cubicBezTo>
                <a:cubicBezTo>
                  <a:pt x="4762" y="228"/>
                  <a:pt x="4762" y="228"/>
                  <a:pt x="4762" y="228"/>
                </a:cubicBezTo>
                <a:cubicBezTo>
                  <a:pt x="4762" y="228"/>
                  <a:pt x="4724" y="208"/>
                  <a:pt x="4713" y="227"/>
                </a:cubicBezTo>
                <a:cubicBezTo>
                  <a:pt x="4702" y="246"/>
                  <a:pt x="4729" y="252"/>
                  <a:pt x="4737" y="251"/>
                </a:cubicBezTo>
                <a:cubicBezTo>
                  <a:pt x="4745" y="250"/>
                  <a:pt x="4772" y="251"/>
                  <a:pt x="4772" y="251"/>
                </a:cubicBezTo>
                <a:cubicBezTo>
                  <a:pt x="4772" y="251"/>
                  <a:pt x="4729" y="254"/>
                  <a:pt x="4734" y="261"/>
                </a:cubicBezTo>
                <a:cubicBezTo>
                  <a:pt x="4739" y="268"/>
                  <a:pt x="4767" y="274"/>
                  <a:pt x="4767" y="274"/>
                </a:cubicBezTo>
                <a:cubicBezTo>
                  <a:pt x="4791" y="277"/>
                  <a:pt x="4791" y="277"/>
                  <a:pt x="4791" y="277"/>
                </a:cubicBezTo>
                <a:cubicBezTo>
                  <a:pt x="4791" y="277"/>
                  <a:pt x="4792" y="267"/>
                  <a:pt x="4799" y="266"/>
                </a:cubicBezTo>
                <a:cubicBezTo>
                  <a:pt x="4806" y="265"/>
                  <a:pt x="4814" y="276"/>
                  <a:pt x="4814" y="276"/>
                </a:cubicBezTo>
                <a:cubicBezTo>
                  <a:pt x="4837" y="267"/>
                  <a:pt x="4837" y="267"/>
                  <a:pt x="4837" y="267"/>
                </a:cubicBezTo>
                <a:cubicBezTo>
                  <a:pt x="4837" y="267"/>
                  <a:pt x="4841" y="277"/>
                  <a:pt x="4844" y="277"/>
                </a:cubicBezTo>
                <a:cubicBezTo>
                  <a:pt x="4847" y="277"/>
                  <a:pt x="4877" y="263"/>
                  <a:pt x="4886" y="265"/>
                </a:cubicBezTo>
                <a:cubicBezTo>
                  <a:pt x="4895" y="267"/>
                  <a:pt x="4902" y="271"/>
                  <a:pt x="4907" y="271"/>
                </a:cubicBezTo>
                <a:cubicBezTo>
                  <a:pt x="4912" y="271"/>
                  <a:pt x="4923" y="262"/>
                  <a:pt x="4929" y="262"/>
                </a:cubicBezTo>
                <a:cubicBezTo>
                  <a:pt x="4935" y="262"/>
                  <a:pt x="4952" y="273"/>
                  <a:pt x="4952" y="273"/>
                </a:cubicBezTo>
                <a:cubicBezTo>
                  <a:pt x="4952" y="273"/>
                  <a:pt x="4984" y="268"/>
                  <a:pt x="5006" y="274"/>
                </a:cubicBezTo>
                <a:cubicBezTo>
                  <a:pt x="5028" y="280"/>
                  <a:pt x="5032" y="291"/>
                  <a:pt x="5032" y="291"/>
                </a:cubicBezTo>
                <a:cubicBezTo>
                  <a:pt x="5032" y="291"/>
                  <a:pt x="5054" y="286"/>
                  <a:pt x="5054" y="291"/>
                </a:cubicBezTo>
                <a:cubicBezTo>
                  <a:pt x="5054" y="296"/>
                  <a:pt x="5044" y="306"/>
                  <a:pt x="5044" y="306"/>
                </a:cubicBezTo>
                <a:cubicBezTo>
                  <a:pt x="5050" y="315"/>
                  <a:pt x="5050" y="315"/>
                  <a:pt x="5050" y="315"/>
                </a:cubicBezTo>
                <a:cubicBezTo>
                  <a:pt x="5050" y="315"/>
                  <a:pt x="5083" y="321"/>
                  <a:pt x="5083" y="330"/>
                </a:cubicBezTo>
                <a:cubicBezTo>
                  <a:pt x="5083" y="339"/>
                  <a:pt x="5067" y="343"/>
                  <a:pt x="5067" y="343"/>
                </a:cubicBezTo>
                <a:cubicBezTo>
                  <a:pt x="5076" y="359"/>
                  <a:pt x="5076" y="359"/>
                  <a:pt x="5076" y="359"/>
                </a:cubicBezTo>
                <a:cubicBezTo>
                  <a:pt x="5092" y="369"/>
                  <a:pt x="5092" y="369"/>
                  <a:pt x="5092" y="369"/>
                </a:cubicBezTo>
                <a:cubicBezTo>
                  <a:pt x="5078" y="374"/>
                  <a:pt x="5078" y="374"/>
                  <a:pt x="5078" y="374"/>
                </a:cubicBezTo>
                <a:cubicBezTo>
                  <a:pt x="5088" y="387"/>
                  <a:pt x="5088" y="387"/>
                  <a:pt x="5088" y="387"/>
                </a:cubicBezTo>
                <a:cubicBezTo>
                  <a:pt x="5088" y="387"/>
                  <a:pt x="5076" y="386"/>
                  <a:pt x="5076" y="395"/>
                </a:cubicBezTo>
                <a:cubicBezTo>
                  <a:pt x="5076" y="404"/>
                  <a:pt x="5098" y="407"/>
                  <a:pt x="5095" y="412"/>
                </a:cubicBezTo>
                <a:cubicBezTo>
                  <a:pt x="5092" y="417"/>
                  <a:pt x="5073" y="426"/>
                  <a:pt x="5073" y="426"/>
                </a:cubicBezTo>
                <a:cubicBezTo>
                  <a:pt x="5081" y="433"/>
                  <a:pt x="5081" y="433"/>
                  <a:pt x="5081" y="433"/>
                </a:cubicBezTo>
                <a:cubicBezTo>
                  <a:pt x="5081" y="433"/>
                  <a:pt x="5040" y="438"/>
                  <a:pt x="5041" y="441"/>
                </a:cubicBezTo>
                <a:cubicBezTo>
                  <a:pt x="5042" y="444"/>
                  <a:pt x="5050" y="446"/>
                  <a:pt x="5063" y="445"/>
                </a:cubicBezTo>
                <a:cubicBezTo>
                  <a:pt x="5076" y="444"/>
                  <a:pt x="5060" y="455"/>
                  <a:pt x="5060" y="455"/>
                </a:cubicBezTo>
                <a:cubicBezTo>
                  <a:pt x="5060" y="455"/>
                  <a:pt x="5009" y="456"/>
                  <a:pt x="5021" y="465"/>
                </a:cubicBezTo>
                <a:cubicBezTo>
                  <a:pt x="5033" y="474"/>
                  <a:pt x="5046" y="479"/>
                  <a:pt x="5062" y="478"/>
                </a:cubicBezTo>
                <a:cubicBezTo>
                  <a:pt x="5078" y="477"/>
                  <a:pt x="5082" y="467"/>
                  <a:pt x="5082" y="467"/>
                </a:cubicBezTo>
                <a:cubicBezTo>
                  <a:pt x="5082" y="467"/>
                  <a:pt x="5109" y="469"/>
                  <a:pt x="5107" y="460"/>
                </a:cubicBezTo>
                <a:cubicBezTo>
                  <a:pt x="5105" y="451"/>
                  <a:pt x="5112" y="439"/>
                  <a:pt x="5112" y="439"/>
                </a:cubicBezTo>
                <a:cubicBezTo>
                  <a:pt x="5114" y="458"/>
                  <a:pt x="5114" y="458"/>
                  <a:pt x="5114" y="458"/>
                </a:cubicBezTo>
                <a:cubicBezTo>
                  <a:pt x="5131" y="447"/>
                  <a:pt x="5131" y="447"/>
                  <a:pt x="5131" y="447"/>
                </a:cubicBezTo>
                <a:cubicBezTo>
                  <a:pt x="5131" y="447"/>
                  <a:pt x="5123" y="453"/>
                  <a:pt x="5127" y="458"/>
                </a:cubicBezTo>
                <a:cubicBezTo>
                  <a:pt x="5131" y="463"/>
                  <a:pt x="5156" y="465"/>
                  <a:pt x="5156" y="465"/>
                </a:cubicBezTo>
                <a:cubicBezTo>
                  <a:pt x="5147" y="471"/>
                  <a:pt x="5147" y="471"/>
                  <a:pt x="5147" y="471"/>
                </a:cubicBezTo>
                <a:cubicBezTo>
                  <a:pt x="5147" y="471"/>
                  <a:pt x="5141" y="484"/>
                  <a:pt x="5150" y="487"/>
                </a:cubicBezTo>
                <a:cubicBezTo>
                  <a:pt x="5159" y="490"/>
                  <a:pt x="5172" y="504"/>
                  <a:pt x="5166" y="510"/>
                </a:cubicBezTo>
                <a:cubicBezTo>
                  <a:pt x="5160" y="516"/>
                  <a:pt x="5149" y="513"/>
                  <a:pt x="5149" y="513"/>
                </a:cubicBezTo>
                <a:cubicBezTo>
                  <a:pt x="5149" y="519"/>
                  <a:pt x="5149" y="519"/>
                  <a:pt x="5149" y="519"/>
                </a:cubicBezTo>
                <a:cubicBezTo>
                  <a:pt x="5149" y="519"/>
                  <a:pt x="5134" y="518"/>
                  <a:pt x="5125" y="517"/>
                </a:cubicBezTo>
                <a:cubicBezTo>
                  <a:pt x="5116" y="516"/>
                  <a:pt x="5108" y="506"/>
                  <a:pt x="5108" y="506"/>
                </a:cubicBezTo>
                <a:cubicBezTo>
                  <a:pt x="5068" y="505"/>
                  <a:pt x="5068" y="505"/>
                  <a:pt x="5068" y="505"/>
                </a:cubicBezTo>
                <a:cubicBezTo>
                  <a:pt x="5068" y="505"/>
                  <a:pt x="5044" y="483"/>
                  <a:pt x="5038" y="505"/>
                </a:cubicBezTo>
                <a:cubicBezTo>
                  <a:pt x="5036" y="514"/>
                  <a:pt x="5048" y="520"/>
                  <a:pt x="5055" y="521"/>
                </a:cubicBezTo>
                <a:cubicBezTo>
                  <a:pt x="5062" y="522"/>
                  <a:pt x="5067" y="518"/>
                  <a:pt x="5076" y="522"/>
                </a:cubicBezTo>
                <a:cubicBezTo>
                  <a:pt x="5085" y="526"/>
                  <a:pt x="5093" y="540"/>
                  <a:pt x="5108" y="540"/>
                </a:cubicBezTo>
                <a:cubicBezTo>
                  <a:pt x="5123" y="540"/>
                  <a:pt x="5134" y="534"/>
                  <a:pt x="5134" y="534"/>
                </a:cubicBezTo>
                <a:cubicBezTo>
                  <a:pt x="5149" y="542"/>
                  <a:pt x="5149" y="542"/>
                  <a:pt x="5149" y="542"/>
                </a:cubicBezTo>
                <a:cubicBezTo>
                  <a:pt x="5163" y="533"/>
                  <a:pt x="5163" y="533"/>
                  <a:pt x="5163" y="533"/>
                </a:cubicBezTo>
                <a:cubicBezTo>
                  <a:pt x="5160" y="547"/>
                  <a:pt x="5160" y="547"/>
                  <a:pt x="5160" y="547"/>
                </a:cubicBezTo>
                <a:cubicBezTo>
                  <a:pt x="5160" y="547"/>
                  <a:pt x="5145" y="540"/>
                  <a:pt x="5143" y="547"/>
                </a:cubicBezTo>
                <a:cubicBezTo>
                  <a:pt x="5141" y="554"/>
                  <a:pt x="5152" y="561"/>
                  <a:pt x="5152" y="561"/>
                </a:cubicBezTo>
                <a:cubicBezTo>
                  <a:pt x="5152" y="561"/>
                  <a:pt x="5125" y="561"/>
                  <a:pt x="5126" y="566"/>
                </a:cubicBezTo>
                <a:cubicBezTo>
                  <a:pt x="5127" y="571"/>
                  <a:pt x="5147" y="572"/>
                  <a:pt x="5147" y="572"/>
                </a:cubicBezTo>
                <a:cubicBezTo>
                  <a:pt x="5147" y="572"/>
                  <a:pt x="5144" y="581"/>
                  <a:pt x="5139" y="583"/>
                </a:cubicBezTo>
                <a:cubicBezTo>
                  <a:pt x="5134" y="585"/>
                  <a:pt x="5118" y="572"/>
                  <a:pt x="5114" y="578"/>
                </a:cubicBezTo>
                <a:cubicBezTo>
                  <a:pt x="5110" y="584"/>
                  <a:pt x="5120" y="592"/>
                  <a:pt x="5120" y="592"/>
                </a:cubicBezTo>
                <a:cubicBezTo>
                  <a:pt x="5104" y="591"/>
                  <a:pt x="5104" y="591"/>
                  <a:pt x="5104" y="591"/>
                </a:cubicBezTo>
                <a:cubicBezTo>
                  <a:pt x="5109" y="605"/>
                  <a:pt x="5109" y="605"/>
                  <a:pt x="5109" y="605"/>
                </a:cubicBezTo>
                <a:cubicBezTo>
                  <a:pt x="5109" y="605"/>
                  <a:pt x="5088" y="606"/>
                  <a:pt x="5091" y="616"/>
                </a:cubicBezTo>
                <a:cubicBezTo>
                  <a:pt x="5094" y="626"/>
                  <a:pt x="5113" y="628"/>
                  <a:pt x="5113" y="628"/>
                </a:cubicBezTo>
                <a:cubicBezTo>
                  <a:pt x="5113" y="628"/>
                  <a:pt x="5115" y="639"/>
                  <a:pt x="5108" y="639"/>
                </a:cubicBezTo>
                <a:cubicBezTo>
                  <a:pt x="5101" y="639"/>
                  <a:pt x="5106" y="647"/>
                  <a:pt x="5106" y="647"/>
                </a:cubicBezTo>
                <a:cubicBezTo>
                  <a:pt x="5106" y="647"/>
                  <a:pt x="5104" y="649"/>
                  <a:pt x="5101" y="639"/>
                </a:cubicBezTo>
                <a:cubicBezTo>
                  <a:pt x="5098" y="629"/>
                  <a:pt x="5087" y="624"/>
                  <a:pt x="5087" y="624"/>
                </a:cubicBezTo>
                <a:cubicBezTo>
                  <a:pt x="5087" y="624"/>
                  <a:pt x="5070" y="593"/>
                  <a:pt x="5060" y="595"/>
                </a:cubicBezTo>
                <a:cubicBezTo>
                  <a:pt x="5050" y="597"/>
                  <a:pt x="5024" y="609"/>
                  <a:pt x="5038" y="617"/>
                </a:cubicBezTo>
                <a:cubicBezTo>
                  <a:pt x="5052" y="625"/>
                  <a:pt x="5074" y="628"/>
                  <a:pt x="5074" y="628"/>
                </a:cubicBezTo>
                <a:cubicBezTo>
                  <a:pt x="5074" y="628"/>
                  <a:pt x="5057" y="630"/>
                  <a:pt x="5046" y="630"/>
                </a:cubicBezTo>
                <a:cubicBezTo>
                  <a:pt x="5035" y="630"/>
                  <a:pt x="5021" y="625"/>
                  <a:pt x="5013" y="630"/>
                </a:cubicBezTo>
                <a:cubicBezTo>
                  <a:pt x="5005" y="635"/>
                  <a:pt x="4982" y="640"/>
                  <a:pt x="4989" y="643"/>
                </a:cubicBezTo>
                <a:cubicBezTo>
                  <a:pt x="4996" y="646"/>
                  <a:pt x="5037" y="639"/>
                  <a:pt x="5047" y="640"/>
                </a:cubicBezTo>
                <a:cubicBezTo>
                  <a:pt x="5057" y="641"/>
                  <a:pt x="5081" y="643"/>
                  <a:pt x="5081" y="643"/>
                </a:cubicBezTo>
                <a:cubicBezTo>
                  <a:pt x="5081" y="643"/>
                  <a:pt x="5061" y="644"/>
                  <a:pt x="5055" y="644"/>
                </a:cubicBezTo>
                <a:cubicBezTo>
                  <a:pt x="5049" y="644"/>
                  <a:pt x="4983" y="649"/>
                  <a:pt x="4977" y="654"/>
                </a:cubicBezTo>
                <a:cubicBezTo>
                  <a:pt x="4971" y="659"/>
                  <a:pt x="4971" y="663"/>
                  <a:pt x="4987" y="662"/>
                </a:cubicBezTo>
                <a:cubicBezTo>
                  <a:pt x="5003" y="661"/>
                  <a:pt x="5041" y="657"/>
                  <a:pt x="5041" y="657"/>
                </a:cubicBezTo>
                <a:cubicBezTo>
                  <a:pt x="5041" y="657"/>
                  <a:pt x="5068" y="656"/>
                  <a:pt x="5069" y="659"/>
                </a:cubicBezTo>
                <a:cubicBezTo>
                  <a:pt x="5070" y="662"/>
                  <a:pt x="5023" y="664"/>
                  <a:pt x="5023" y="664"/>
                </a:cubicBezTo>
                <a:cubicBezTo>
                  <a:pt x="5023" y="664"/>
                  <a:pt x="4968" y="666"/>
                  <a:pt x="4969" y="668"/>
                </a:cubicBezTo>
                <a:cubicBezTo>
                  <a:pt x="4970" y="670"/>
                  <a:pt x="4979" y="675"/>
                  <a:pt x="4988" y="675"/>
                </a:cubicBezTo>
                <a:cubicBezTo>
                  <a:pt x="4997" y="675"/>
                  <a:pt x="5011" y="682"/>
                  <a:pt x="5011" y="682"/>
                </a:cubicBezTo>
                <a:cubicBezTo>
                  <a:pt x="5011" y="682"/>
                  <a:pt x="4987" y="676"/>
                  <a:pt x="4982" y="682"/>
                </a:cubicBezTo>
                <a:cubicBezTo>
                  <a:pt x="4977" y="688"/>
                  <a:pt x="4982" y="690"/>
                  <a:pt x="4982" y="690"/>
                </a:cubicBezTo>
                <a:cubicBezTo>
                  <a:pt x="4982" y="690"/>
                  <a:pt x="4951" y="699"/>
                  <a:pt x="4955" y="705"/>
                </a:cubicBezTo>
                <a:cubicBezTo>
                  <a:pt x="4980" y="706"/>
                  <a:pt x="4980" y="706"/>
                  <a:pt x="4980" y="706"/>
                </a:cubicBezTo>
                <a:cubicBezTo>
                  <a:pt x="4957" y="716"/>
                  <a:pt x="4957" y="716"/>
                  <a:pt x="4957" y="716"/>
                </a:cubicBezTo>
                <a:cubicBezTo>
                  <a:pt x="4957" y="716"/>
                  <a:pt x="4956" y="729"/>
                  <a:pt x="4966" y="727"/>
                </a:cubicBezTo>
                <a:cubicBezTo>
                  <a:pt x="4976" y="725"/>
                  <a:pt x="4999" y="725"/>
                  <a:pt x="4999" y="725"/>
                </a:cubicBezTo>
                <a:cubicBezTo>
                  <a:pt x="4999" y="725"/>
                  <a:pt x="4960" y="736"/>
                  <a:pt x="4967" y="744"/>
                </a:cubicBezTo>
                <a:cubicBezTo>
                  <a:pt x="4974" y="752"/>
                  <a:pt x="4997" y="740"/>
                  <a:pt x="4997" y="740"/>
                </a:cubicBezTo>
                <a:cubicBezTo>
                  <a:pt x="4997" y="740"/>
                  <a:pt x="4980" y="755"/>
                  <a:pt x="4978" y="762"/>
                </a:cubicBezTo>
                <a:cubicBezTo>
                  <a:pt x="4976" y="769"/>
                  <a:pt x="4973" y="775"/>
                  <a:pt x="4979" y="775"/>
                </a:cubicBezTo>
                <a:cubicBezTo>
                  <a:pt x="4985" y="775"/>
                  <a:pt x="4996" y="767"/>
                  <a:pt x="4996" y="767"/>
                </a:cubicBezTo>
                <a:cubicBezTo>
                  <a:pt x="4996" y="767"/>
                  <a:pt x="4991" y="783"/>
                  <a:pt x="4984" y="783"/>
                </a:cubicBezTo>
                <a:cubicBezTo>
                  <a:pt x="4977" y="783"/>
                  <a:pt x="4962" y="792"/>
                  <a:pt x="4963" y="802"/>
                </a:cubicBezTo>
                <a:cubicBezTo>
                  <a:pt x="4964" y="812"/>
                  <a:pt x="4987" y="793"/>
                  <a:pt x="4987" y="793"/>
                </a:cubicBezTo>
                <a:cubicBezTo>
                  <a:pt x="4987" y="793"/>
                  <a:pt x="5002" y="776"/>
                  <a:pt x="5006" y="780"/>
                </a:cubicBezTo>
                <a:cubicBezTo>
                  <a:pt x="5010" y="784"/>
                  <a:pt x="5034" y="774"/>
                  <a:pt x="5034" y="774"/>
                </a:cubicBezTo>
                <a:cubicBezTo>
                  <a:pt x="5031" y="784"/>
                  <a:pt x="5031" y="784"/>
                  <a:pt x="5031" y="784"/>
                </a:cubicBezTo>
                <a:cubicBezTo>
                  <a:pt x="5045" y="774"/>
                  <a:pt x="5045" y="774"/>
                  <a:pt x="5045" y="774"/>
                </a:cubicBezTo>
                <a:cubicBezTo>
                  <a:pt x="5031" y="791"/>
                  <a:pt x="5031" y="791"/>
                  <a:pt x="5031" y="791"/>
                </a:cubicBezTo>
                <a:cubicBezTo>
                  <a:pt x="5053" y="794"/>
                  <a:pt x="5053" y="794"/>
                  <a:pt x="5053" y="794"/>
                </a:cubicBezTo>
                <a:cubicBezTo>
                  <a:pt x="5053" y="794"/>
                  <a:pt x="5023" y="794"/>
                  <a:pt x="5021" y="798"/>
                </a:cubicBezTo>
                <a:cubicBezTo>
                  <a:pt x="5019" y="802"/>
                  <a:pt x="5028" y="804"/>
                  <a:pt x="5028" y="804"/>
                </a:cubicBezTo>
                <a:cubicBezTo>
                  <a:pt x="5028" y="804"/>
                  <a:pt x="5005" y="809"/>
                  <a:pt x="4999" y="810"/>
                </a:cubicBezTo>
                <a:cubicBezTo>
                  <a:pt x="4993" y="811"/>
                  <a:pt x="5000" y="816"/>
                  <a:pt x="5000" y="816"/>
                </a:cubicBezTo>
                <a:cubicBezTo>
                  <a:pt x="5000" y="816"/>
                  <a:pt x="4976" y="821"/>
                  <a:pt x="4974" y="826"/>
                </a:cubicBezTo>
                <a:cubicBezTo>
                  <a:pt x="4972" y="831"/>
                  <a:pt x="4998" y="829"/>
                  <a:pt x="4998" y="829"/>
                </a:cubicBezTo>
                <a:cubicBezTo>
                  <a:pt x="4998" y="829"/>
                  <a:pt x="4977" y="833"/>
                  <a:pt x="4977" y="836"/>
                </a:cubicBezTo>
                <a:cubicBezTo>
                  <a:pt x="4977" y="839"/>
                  <a:pt x="4997" y="844"/>
                  <a:pt x="4997" y="844"/>
                </a:cubicBezTo>
                <a:cubicBezTo>
                  <a:pt x="4997" y="844"/>
                  <a:pt x="4980" y="844"/>
                  <a:pt x="4979" y="851"/>
                </a:cubicBezTo>
                <a:cubicBezTo>
                  <a:pt x="4978" y="858"/>
                  <a:pt x="5003" y="855"/>
                  <a:pt x="5003" y="855"/>
                </a:cubicBezTo>
                <a:cubicBezTo>
                  <a:pt x="4991" y="870"/>
                  <a:pt x="4991" y="870"/>
                  <a:pt x="4991" y="870"/>
                </a:cubicBezTo>
                <a:cubicBezTo>
                  <a:pt x="5010" y="867"/>
                  <a:pt x="5010" y="867"/>
                  <a:pt x="5010" y="867"/>
                </a:cubicBezTo>
                <a:cubicBezTo>
                  <a:pt x="5010" y="867"/>
                  <a:pt x="4988" y="880"/>
                  <a:pt x="4991" y="891"/>
                </a:cubicBezTo>
                <a:cubicBezTo>
                  <a:pt x="4994" y="902"/>
                  <a:pt x="5017" y="900"/>
                  <a:pt x="5017" y="900"/>
                </a:cubicBezTo>
                <a:cubicBezTo>
                  <a:pt x="5006" y="915"/>
                  <a:pt x="5006" y="915"/>
                  <a:pt x="5006" y="915"/>
                </a:cubicBezTo>
                <a:cubicBezTo>
                  <a:pt x="5027" y="908"/>
                  <a:pt x="5027" y="908"/>
                  <a:pt x="5027" y="908"/>
                </a:cubicBezTo>
                <a:cubicBezTo>
                  <a:pt x="5027" y="908"/>
                  <a:pt x="5012" y="920"/>
                  <a:pt x="5015" y="925"/>
                </a:cubicBezTo>
                <a:cubicBezTo>
                  <a:pt x="5018" y="930"/>
                  <a:pt x="5037" y="931"/>
                  <a:pt x="5037" y="931"/>
                </a:cubicBezTo>
                <a:cubicBezTo>
                  <a:pt x="5037" y="931"/>
                  <a:pt x="5027" y="934"/>
                  <a:pt x="5030" y="940"/>
                </a:cubicBezTo>
                <a:cubicBezTo>
                  <a:pt x="5033" y="946"/>
                  <a:pt x="5044" y="943"/>
                  <a:pt x="5044" y="943"/>
                </a:cubicBezTo>
                <a:cubicBezTo>
                  <a:pt x="5044" y="943"/>
                  <a:pt x="5029" y="955"/>
                  <a:pt x="5032" y="959"/>
                </a:cubicBezTo>
                <a:cubicBezTo>
                  <a:pt x="5035" y="963"/>
                  <a:pt x="5051" y="961"/>
                  <a:pt x="5051" y="961"/>
                </a:cubicBezTo>
                <a:cubicBezTo>
                  <a:pt x="5049" y="969"/>
                  <a:pt x="5049" y="969"/>
                  <a:pt x="5049" y="969"/>
                </a:cubicBezTo>
                <a:cubicBezTo>
                  <a:pt x="5075" y="963"/>
                  <a:pt x="5075" y="963"/>
                  <a:pt x="5075" y="963"/>
                </a:cubicBezTo>
                <a:cubicBezTo>
                  <a:pt x="5075" y="963"/>
                  <a:pt x="5083" y="976"/>
                  <a:pt x="5091" y="969"/>
                </a:cubicBezTo>
                <a:cubicBezTo>
                  <a:pt x="5099" y="962"/>
                  <a:pt x="5124" y="946"/>
                  <a:pt x="5128" y="948"/>
                </a:cubicBezTo>
                <a:cubicBezTo>
                  <a:pt x="5132" y="950"/>
                  <a:pt x="5121" y="958"/>
                  <a:pt x="5121" y="958"/>
                </a:cubicBezTo>
                <a:cubicBezTo>
                  <a:pt x="5136" y="962"/>
                  <a:pt x="5136" y="962"/>
                  <a:pt x="5136" y="962"/>
                </a:cubicBezTo>
                <a:cubicBezTo>
                  <a:pt x="5150" y="955"/>
                  <a:pt x="5150" y="955"/>
                  <a:pt x="5150" y="955"/>
                </a:cubicBezTo>
                <a:cubicBezTo>
                  <a:pt x="5150" y="955"/>
                  <a:pt x="5129" y="968"/>
                  <a:pt x="5124" y="973"/>
                </a:cubicBezTo>
                <a:cubicBezTo>
                  <a:pt x="5119" y="978"/>
                  <a:pt x="5115" y="983"/>
                  <a:pt x="5123" y="983"/>
                </a:cubicBezTo>
                <a:cubicBezTo>
                  <a:pt x="5131" y="983"/>
                  <a:pt x="5158" y="978"/>
                  <a:pt x="5158" y="978"/>
                </a:cubicBezTo>
                <a:cubicBezTo>
                  <a:pt x="5158" y="978"/>
                  <a:pt x="5127" y="994"/>
                  <a:pt x="5136" y="1000"/>
                </a:cubicBezTo>
                <a:cubicBezTo>
                  <a:pt x="5145" y="1006"/>
                  <a:pt x="5164" y="1000"/>
                  <a:pt x="5164" y="1000"/>
                </a:cubicBezTo>
                <a:cubicBezTo>
                  <a:pt x="5164" y="1000"/>
                  <a:pt x="5174" y="1019"/>
                  <a:pt x="5186" y="1012"/>
                </a:cubicBezTo>
                <a:cubicBezTo>
                  <a:pt x="5198" y="1005"/>
                  <a:pt x="5204" y="998"/>
                  <a:pt x="5204" y="998"/>
                </a:cubicBezTo>
                <a:cubicBezTo>
                  <a:pt x="5204" y="998"/>
                  <a:pt x="5199" y="995"/>
                  <a:pt x="5195" y="989"/>
                </a:cubicBezTo>
                <a:cubicBezTo>
                  <a:pt x="5191" y="983"/>
                  <a:pt x="5208" y="990"/>
                  <a:pt x="5213" y="985"/>
                </a:cubicBezTo>
                <a:cubicBezTo>
                  <a:pt x="5218" y="980"/>
                  <a:pt x="5217" y="964"/>
                  <a:pt x="5217" y="964"/>
                </a:cubicBezTo>
                <a:cubicBezTo>
                  <a:pt x="5217" y="964"/>
                  <a:pt x="5239" y="974"/>
                  <a:pt x="5238" y="964"/>
                </a:cubicBezTo>
                <a:cubicBezTo>
                  <a:pt x="5237" y="954"/>
                  <a:pt x="5233" y="948"/>
                  <a:pt x="5233" y="948"/>
                </a:cubicBezTo>
                <a:cubicBezTo>
                  <a:pt x="5233" y="948"/>
                  <a:pt x="5239" y="957"/>
                  <a:pt x="5245" y="958"/>
                </a:cubicBezTo>
                <a:cubicBezTo>
                  <a:pt x="5250" y="958"/>
                  <a:pt x="5255" y="949"/>
                  <a:pt x="5252" y="944"/>
                </a:cubicBezTo>
                <a:cubicBezTo>
                  <a:pt x="5246" y="934"/>
                  <a:pt x="5240" y="931"/>
                  <a:pt x="5240" y="931"/>
                </a:cubicBezTo>
                <a:cubicBezTo>
                  <a:pt x="5240" y="931"/>
                  <a:pt x="5262" y="937"/>
                  <a:pt x="5262" y="933"/>
                </a:cubicBezTo>
                <a:cubicBezTo>
                  <a:pt x="5262" y="929"/>
                  <a:pt x="5257" y="923"/>
                  <a:pt x="5257" y="923"/>
                </a:cubicBezTo>
                <a:cubicBezTo>
                  <a:pt x="5275" y="922"/>
                  <a:pt x="5275" y="922"/>
                  <a:pt x="5275" y="922"/>
                </a:cubicBezTo>
                <a:cubicBezTo>
                  <a:pt x="5267" y="908"/>
                  <a:pt x="5267" y="908"/>
                  <a:pt x="5267" y="908"/>
                </a:cubicBezTo>
                <a:cubicBezTo>
                  <a:pt x="5278" y="903"/>
                  <a:pt x="5278" y="903"/>
                  <a:pt x="5278" y="903"/>
                </a:cubicBezTo>
                <a:cubicBezTo>
                  <a:pt x="5278" y="903"/>
                  <a:pt x="5265" y="894"/>
                  <a:pt x="5262" y="893"/>
                </a:cubicBezTo>
                <a:cubicBezTo>
                  <a:pt x="5259" y="892"/>
                  <a:pt x="5273" y="887"/>
                  <a:pt x="5273" y="887"/>
                </a:cubicBezTo>
                <a:cubicBezTo>
                  <a:pt x="5259" y="873"/>
                  <a:pt x="5259" y="873"/>
                  <a:pt x="5259" y="873"/>
                </a:cubicBezTo>
                <a:cubicBezTo>
                  <a:pt x="5259" y="873"/>
                  <a:pt x="5273" y="885"/>
                  <a:pt x="5277" y="882"/>
                </a:cubicBezTo>
                <a:cubicBezTo>
                  <a:pt x="5281" y="879"/>
                  <a:pt x="5289" y="873"/>
                  <a:pt x="5289" y="873"/>
                </a:cubicBezTo>
                <a:cubicBezTo>
                  <a:pt x="5289" y="873"/>
                  <a:pt x="5305" y="875"/>
                  <a:pt x="5308" y="872"/>
                </a:cubicBezTo>
                <a:cubicBezTo>
                  <a:pt x="5311" y="869"/>
                  <a:pt x="5304" y="859"/>
                  <a:pt x="5304" y="859"/>
                </a:cubicBezTo>
                <a:cubicBezTo>
                  <a:pt x="5318" y="858"/>
                  <a:pt x="5318" y="858"/>
                  <a:pt x="5318" y="858"/>
                </a:cubicBezTo>
                <a:cubicBezTo>
                  <a:pt x="5323" y="841"/>
                  <a:pt x="5323" y="841"/>
                  <a:pt x="5323" y="841"/>
                </a:cubicBezTo>
                <a:cubicBezTo>
                  <a:pt x="5323" y="841"/>
                  <a:pt x="5343" y="848"/>
                  <a:pt x="5349" y="843"/>
                </a:cubicBezTo>
                <a:cubicBezTo>
                  <a:pt x="5355" y="838"/>
                  <a:pt x="5350" y="829"/>
                  <a:pt x="5350" y="829"/>
                </a:cubicBezTo>
                <a:cubicBezTo>
                  <a:pt x="5350" y="829"/>
                  <a:pt x="5357" y="839"/>
                  <a:pt x="5364" y="839"/>
                </a:cubicBezTo>
                <a:cubicBezTo>
                  <a:pt x="5368" y="839"/>
                  <a:pt x="5371" y="830"/>
                  <a:pt x="5373" y="828"/>
                </a:cubicBezTo>
                <a:cubicBezTo>
                  <a:pt x="5378" y="821"/>
                  <a:pt x="5373" y="811"/>
                  <a:pt x="5373" y="811"/>
                </a:cubicBezTo>
                <a:cubicBezTo>
                  <a:pt x="5348" y="807"/>
                  <a:pt x="5348" y="807"/>
                  <a:pt x="5348" y="807"/>
                </a:cubicBezTo>
                <a:cubicBezTo>
                  <a:pt x="5366" y="802"/>
                  <a:pt x="5366" y="802"/>
                  <a:pt x="5366" y="802"/>
                </a:cubicBezTo>
                <a:cubicBezTo>
                  <a:pt x="5386" y="794"/>
                  <a:pt x="5386" y="794"/>
                  <a:pt x="5386" y="794"/>
                </a:cubicBezTo>
                <a:cubicBezTo>
                  <a:pt x="5387" y="780"/>
                  <a:pt x="5387" y="780"/>
                  <a:pt x="5387" y="780"/>
                </a:cubicBezTo>
                <a:cubicBezTo>
                  <a:pt x="5374" y="777"/>
                  <a:pt x="5374" y="777"/>
                  <a:pt x="5374" y="777"/>
                </a:cubicBezTo>
                <a:cubicBezTo>
                  <a:pt x="5379" y="765"/>
                  <a:pt x="5379" y="765"/>
                  <a:pt x="5379" y="765"/>
                </a:cubicBezTo>
                <a:cubicBezTo>
                  <a:pt x="5400" y="765"/>
                  <a:pt x="5400" y="765"/>
                  <a:pt x="5400" y="765"/>
                </a:cubicBezTo>
                <a:cubicBezTo>
                  <a:pt x="5400" y="765"/>
                  <a:pt x="5414" y="769"/>
                  <a:pt x="5421" y="763"/>
                </a:cubicBezTo>
                <a:cubicBezTo>
                  <a:pt x="5428" y="757"/>
                  <a:pt x="5423" y="745"/>
                  <a:pt x="5423" y="745"/>
                </a:cubicBezTo>
                <a:cubicBezTo>
                  <a:pt x="5445" y="741"/>
                  <a:pt x="5445" y="741"/>
                  <a:pt x="5445" y="741"/>
                </a:cubicBezTo>
                <a:cubicBezTo>
                  <a:pt x="5445" y="741"/>
                  <a:pt x="5476" y="747"/>
                  <a:pt x="5484" y="740"/>
                </a:cubicBezTo>
                <a:cubicBezTo>
                  <a:pt x="5492" y="733"/>
                  <a:pt x="5495" y="726"/>
                  <a:pt x="5495" y="726"/>
                </a:cubicBezTo>
                <a:cubicBezTo>
                  <a:pt x="5504" y="721"/>
                  <a:pt x="5504" y="721"/>
                  <a:pt x="5504" y="721"/>
                </a:cubicBezTo>
                <a:cubicBezTo>
                  <a:pt x="5504" y="721"/>
                  <a:pt x="5506" y="710"/>
                  <a:pt x="5517" y="708"/>
                </a:cubicBezTo>
                <a:cubicBezTo>
                  <a:pt x="5528" y="706"/>
                  <a:pt x="5497" y="740"/>
                  <a:pt x="5505" y="740"/>
                </a:cubicBezTo>
                <a:cubicBezTo>
                  <a:pt x="5513" y="740"/>
                  <a:pt x="5521" y="738"/>
                  <a:pt x="5521" y="738"/>
                </a:cubicBezTo>
                <a:cubicBezTo>
                  <a:pt x="5525" y="725"/>
                  <a:pt x="5525" y="725"/>
                  <a:pt x="5525" y="725"/>
                </a:cubicBezTo>
                <a:cubicBezTo>
                  <a:pt x="5534" y="727"/>
                  <a:pt x="5534" y="727"/>
                  <a:pt x="5534" y="727"/>
                </a:cubicBezTo>
                <a:cubicBezTo>
                  <a:pt x="5542" y="718"/>
                  <a:pt x="5542" y="718"/>
                  <a:pt x="5542" y="718"/>
                </a:cubicBezTo>
                <a:cubicBezTo>
                  <a:pt x="5542" y="718"/>
                  <a:pt x="5559" y="733"/>
                  <a:pt x="5571" y="725"/>
                </a:cubicBezTo>
                <a:cubicBezTo>
                  <a:pt x="5583" y="717"/>
                  <a:pt x="5600" y="704"/>
                  <a:pt x="5600" y="704"/>
                </a:cubicBezTo>
                <a:cubicBezTo>
                  <a:pt x="5600" y="704"/>
                  <a:pt x="5616" y="709"/>
                  <a:pt x="5643" y="698"/>
                </a:cubicBezTo>
                <a:cubicBezTo>
                  <a:pt x="5670" y="687"/>
                  <a:pt x="5667" y="670"/>
                  <a:pt x="5685" y="658"/>
                </a:cubicBezTo>
                <a:cubicBezTo>
                  <a:pt x="5703" y="646"/>
                  <a:pt x="5745" y="634"/>
                  <a:pt x="5745" y="634"/>
                </a:cubicBezTo>
                <a:cubicBezTo>
                  <a:pt x="5745" y="634"/>
                  <a:pt x="5748" y="625"/>
                  <a:pt x="5747" y="619"/>
                </a:cubicBezTo>
                <a:cubicBezTo>
                  <a:pt x="5746" y="613"/>
                  <a:pt x="5739" y="601"/>
                  <a:pt x="5746" y="599"/>
                </a:cubicBezTo>
                <a:cubicBezTo>
                  <a:pt x="5753" y="597"/>
                  <a:pt x="5764" y="625"/>
                  <a:pt x="5775" y="625"/>
                </a:cubicBezTo>
                <a:cubicBezTo>
                  <a:pt x="5775" y="625"/>
                  <a:pt x="5817" y="624"/>
                  <a:pt x="5828" y="622"/>
                </a:cubicBezTo>
                <a:cubicBezTo>
                  <a:pt x="5839" y="620"/>
                  <a:pt x="5860" y="609"/>
                  <a:pt x="5883" y="606"/>
                </a:cubicBezTo>
                <a:cubicBezTo>
                  <a:pt x="5906" y="603"/>
                  <a:pt x="5946" y="600"/>
                  <a:pt x="5953" y="598"/>
                </a:cubicBezTo>
                <a:cubicBezTo>
                  <a:pt x="5960" y="596"/>
                  <a:pt x="5966" y="589"/>
                  <a:pt x="5966" y="589"/>
                </a:cubicBezTo>
                <a:close/>
                <a:moveTo>
                  <a:pt x="3460" y="585"/>
                </a:moveTo>
                <a:cubicBezTo>
                  <a:pt x="3479" y="587"/>
                  <a:pt x="3488" y="593"/>
                  <a:pt x="3504" y="601"/>
                </a:cubicBezTo>
                <a:cubicBezTo>
                  <a:pt x="3520" y="609"/>
                  <a:pt x="3574" y="600"/>
                  <a:pt x="3574" y="600"/>
                </a:cubicBezTo>
                <a:cubicBezTo>
                  <a:pt x="3560" y="555"/>
                  <a:pt x="3560" y="555"/>
                  <a:pt x="3560" y="555"/>
                </a:cubicBezTo>
                <a:cubicBezTo>
                  <a:pt x="3494" y="541"/>
                  <a:pt x="3494" y="541"/>
                  <a:pt x="3494" y="541"/>
                </a:cubicBezTo>
                <a:cubicBezTo>
                  <a:pt x="3472" y="566"/>
                  <a:pt x="3472" y="566"/>
                  <a:pt x="3472" y="566"/>
                </a:cubicBezTo>
                <a:cubicBezTo>
                  <a:pt x="3450" y="568"/>
                  <a:pt x="3450" y="568"/>
                  <a:pt x="3450" y="568"/>
                </a:cubicBezTo>
                <a:cubicBezTo>
                  <a:pt x="3450" y="568"/>
                  <a:pt x="3441" y="584"/>
                  <a:pt x="3460" y="585"/>
                </a:cubicBezTo>
                <a:close/>
                <a:moveTo>
                  <a:pt x="5038" y="566"/>
                </a:moveTo>
                <a:cubicBezTo>
                  <a:pt x="5046" y="568"/>
                  <a:pt x="5046" y="568"/>
                  <a:pt x="5046" y="568"/>
                </a:cubicBezTo>
                <a:cubicBezTo>
                  <a:pt x="5046" y="568"/>
                  <a:pt x="5064" y="564"/>
                  <a:pt x="5070" y="564"/>
                </a:cubicBezTo>
                <a:cubicBezTo>
                  <a:pt x="5076" y="564"/>
                  <a:pt x="5090" y="554"/>
                  <a:pt x="5088" y="546"/>
                </a:cubicBezTo>
                <a:cubicBezTo>
                  <a:pt x="5086" y="538"/>
                  <a:pt x="5064" y="534"/>
                  <a:pt x="5064" y="534"/>
                </a:cubicBezTo>
                <a:cubicBezTo>
                  <a:pt x="5064" y="534"/>
                  <a:pt x="5054" y="526"/>
                  <a:pt x="5044" y="526"/>
                </a:cubicBezTo>
                <a:cubicBezTo>
                  <a:pt x="5034" y="526"/>
                  <a:pt x="5030" y="532"/>
                  <a:pt x="5014" y="526"/>
                </a:cubicBezTo>
                <a:cubicBezTo>
                  <a:pt x="5010" y="542"/>
                  <a:pt x="5010" y="542"/>
                  <a:pt x="5010" y="542"/>
                </a:cubicBezTo>
                <a:cubicBezTo>
                  <a:pt x="5010" y="542"/>
                  <a:pt x="5002" y="546"/>
                  <a:pt x="5002" y="552"/>
                </a:cubicBezTo>
                <a:cubicBezTo>
                  <a:pt x="5002" y="558"/>
                  <a:pt x="5014" y="564"/>
                  <a:pt x="5014" y="564"/>
                </a:cubicBezTo>
                <a:cubicBezTo>
                  <a:pt x="5010" y="572"/>
                  <a:pt x="5010" y="572"/>
                  <a:pt x="5010" y="572"/>
                </a:cubicBezTo>
                <a:lnTo>
                  <a:pt x="5038" y="566"/>
                </a:lnTo>
                <a:close/>
                <a:moveTo>
                  <a:pt x="3831" y="723"/>
                </a:moveTo>
                <a:cubicBezTo>
                  <a:pt x="3819" y="725"/>
                  <a:pt x="3809" y="742"/>
                  <a:pt x="3828" y="742"/>
                </a:cubicBezTo>
                <a:cubicBezTo>
                  <a:pt x="3839" y="742"/>
                  <a:pt x="3844" y="721"/>
                  <a:pt x="3831" y="723"/>
                </a:cubicBezTo>
                <a:close/>
                <a:moveTo>
                  <a:pt x="1600" y="1098"/>
                </a:moveTo>
                <a:cubicBezTo>
                  <a:pt x="1600" y="1098"/>
                  <a:pt x="1575" y="1105"/>
                  <a:pt x="1576" y="1112"/>
                </a:cubicBezTo>
                <a:cubicBezTo>
                  <a:pt x="1577" y="1119"/>
                  <a:pt x="1586" y="1129"/>
                  <a:pt x="1586" y="1129"/>
                </a:cubicBezTo>
                <a:cubicBezTo>
                  <a:pt x="1597" y="1133"/>
                  <a:pt x="1614" y="1125"/>
                  <a:pt x="1614" y="1115"/>
                </a:cubicBezTo>
                <a:cubicBezTo>
                  <a:pt x="1614" y="1105"/>
                  <a:pt x="1600" y="1098"/>
                  <a:pt x="1600" y="1098"/>
                </a:cubicBezTo>
                <a:close/>
                <a:moveTo>
                  <a:pt x="1573" y="1465"/>
                </a:moveTo>
                <a:cubicBezTo>
                  <a:pt x="1561" y="1464"/>
                  <a:pt x="1541" y="1476"/>
                  <a:pt x="1546" y="1484"/>
                </a:cubicBezTo>
                <a:cubicBezTo>
                  <a:pt x="1551" y="1492"/>
                  <a:pt x="1560" y="1490"/>
                  <a:pt x="1560" y="1490"/>
                </a:cubicBezTo>
                <a:cubicBezTo>
                  <a:pt x="1569" y="1484"/>
                  <a:pt x="1569" y="1484"/>
                  <a:pt x="1569" y="1484"/>
                </a:cubicBezTo>
                <a:cubicBezTo>
                  <a:pt x="1576" y="1489"/>
                  <a:pt x="1576" y="1489"/>
                  <a:pt x="1576" y="1489"/>
                </a:cubicBezTo>
                <a:cubicBezTo>
                  <a:pt x="1570" y="1496"/>
                  <a:pt x="1570" y="1496"/>
                  <a:pt x="1570" y="1496"/>
                </a:cubicBezTo>
                <a:cubicBezTo>
                  <a:pt x="1570" y="1496"/>
                  <a:pt x="1541" y="1501"/>
                  <a:pt x="1549" y="1510"/>
                </a:cubicBezTo>
                <a:cubicBezTo>
                  <a:pt x="1557" y="1519"/>
                  <a:pt x="1572" y="1510"/>
                  <a:pt x="1572" y="1510"/>
                </a:cubicBezTo>
                <a:cubicBezTo>
                  <a:pt x="1567" y="1525"/>
                  <a:pt x="1567" y="1525"/>
                  <a:pt x="1567" y="1525"/>
                </a:cubicBezTo>
                <a:cubicBezTo>
                  <a:pt x="1582" y="1524"/>
                  <a:pt x="1582" y="1524"/>
                  <a:pt x="1582" y="1524"/>
                </a:cubicBezTo>
                <a:cubicBezTo>
                  <a:pt x="1568" y="1535"/>
                  <a:pt x="1568" y="1535"/>
                  <a:pt x="1568" y="1535"/>
                </a:cubicBezTo>
                <a:cubicBezTo>
                  <a:pt x="1594" y="1533"/>
                  <a:pt x="1594" y="1533"/>
                  <a:pt x="1594" y="1533"/>
                </a:cubicBezTo>
                <a:cubicBezTo>
                  <a:pt x="1594" y="1533"/>
                  <a:pt x="1567" y="1544"/>
                  <a:pt x="1573" y="1549"/>
                </a:cubicBezTo>
                <a:cubicBezTo>
                  <a:pt x="1579" y="1554"/>
                  <a:pt x="1591" y="1533"/>
                  <a:pt x="1597" y="1544"/>
                </a:cubicBezTo>
                <a:cubicBezTo>
                  <a:pt x="1603" y="1555"/>
                  <a:pt x="1581" y="1559"/>
                  <a:pt x="1587" y="1566"/>
                </a:cubicBezTo>
                <a:cubicBezTo>
                  <a:pt x="1593" y="1573"/>
                  <a:pt x="1619" y="1568"/>
                  <a:pt x="1619" y="1568"/>
                </a:cubicBezTo>
                <a:cubicBezTo>
                  <a:pt x="1632" y="1560"/>
                  <a:pt x="1632" y="1560"/>
                  <a:pt x="1632" y="1560"/>
                </a:cubicBezTo>
                <a:cubicBezTo>
                  <a:pt x="1620" y="1574"/>
                  <a:pt x="1620" y="1574"/>
                  <a:pt x="1620" y="1574"/>
                </a:cubicBezTo>
                <a:cubicBezTo>
                  <a:pt x="1620" y="1574"/>
                  <a:pt x="1595" y="1574"/>
                  <a:pt x="1606" y="1583"/>
                </a:cubicBezTo>
                <a:cubicBezTo>
                  <a:pt x="1617" y="1592"/>
                  <a:pt x="1626" y="1592"/>
                  <a:pt x="1626" y="1592"/>
                </a:cubicBezTo>
                <a:cubicBezTo>
                  <a:pt x="1626" y="1592"/>
                  <a:pt x="1650" y="1609"/>
                  <a:pt x="1662" y="1599"/>
                </a:cubicBezTo>
                <a:cubicBezTo>
                  <a:pt x="1674" y="1589"/>
                  <a:pt x="1683" y="1581"/>
                  <a:pt x="1674" y="1570"/>
                </a:cubicBezTo>
                <a:cubicBezTo>
                  <a:pt x="1665" y="1559"/>
                  <a:pt x="1648" y="1548"/>
                  <a:pt x="1648" y="1548"/>
                </a:cubicBezTo>
                <a:cubicBezTo>
                  <a:pt x="1648" y="1548"/>
                  <a:pt x="1645" y="1534"/>
                  <a:pt x="1646" y="1527"/>
                </a:cubicBezTo>
                <a:cubicBezTo>
                  <a:pt x="1647" y="1520"/>
                  <a:pt x="1652" y="1508"/>
                  <a:pt x="1644" y="1498"/>
                </a:cubicBezTo>
                <a:cubicBezTo>
                  <a:pt x="1644" y="1498"/>
                  <a:pt x="1618" y="1494"/>
                  <a:pt x="1609" y="1492"/>
                </a:cubicBezTo>
                <a:cubicBezTo>
                  <a:pt x="1600" y="1490"/>
                  <a:pt x="1585" y="1466"/>
                  <a:pt x="1573" y="1465"/>
                </a:cubicBezTo>
                <a:close/>
                <a:moveTo>
                  <a:pt x="1638" y="1472"/>
                </a:moveTo>
                <a:cubicBezTo>
                  <a:pt x="1628" y="1469"/>
                  <a:pt x="1629" y="1486"/>
                  <a:pt x="1629" y="1486"/>
                </a:cubicBezTo>
                <a:cubicBezTo>
                  <a:pt x="1637" y="1486"/>
                  <a:pt x="1648" y="1475"/>
                  <a:pt x="1638" y="1472"/>
                </a:cubicBezTo>
                <a:close/>
                <a:moveTo>
                  <a:pt x="1625" y="1384"/>
                </a:moveTo>
                <a:cubicBezTo>
                  <a:pt x="1623" y="1367"/>
                  <a:pt x="1623" y="1367"/>
                  <a:pt x="1623" y="1367"/>
                </a:cubicBezTo>
                <a:cubicBezTo>
                  <a:pt x="1623" y="1367"/>
                  <a:pt x="1591" y="1364"/>
                  <a:pt x="1591" y="1373"/>
                </a:cubicBezTo>
                <a:cubicBezTo>
                  <a:pt x="1591" y="1382"/>
                  <a:pt x="1608" y="1379"/>
                  <a:pt x="1608" y="1379"/>
                </a:cubicBezTo>
                <a:cubicBezTo>
                  <a:pt x="1606" y="1396"/>
                  <a:pt x="1606" y="1396"/>
                  <a:pt x="1606" y="1396"/>
                </a:cubicBezTo>
                <a:lnTo>
                  <a:pt x="1625" y="1384"/>
                </a:lnTo>
                <a:close/>
                <a:moveTo>
                  <a:pt x="1582" y="1336"/>
                </a:moveTo>
                <a:cubicBezTo>
                  <a:pt x="1584" y="1351"/>
                  <a:pt x="1595" y="1357"/>
                  <a:pt x="1595" y="1357"/>
                </a:cubicBezTo>
                <a:cubicBezTo>
                  <a:pt x="1603" y="1336"/>
                  <a:pt x="1603" y="1336"/>
                  <a:pt x="1603" y="1336"/>
                </a:cubicBezTo>
                <a:cubicBezTo>
                  <a:pt x="1603" y="1336"/>
                  <a:pt x="1580" y="1321"/>
                  <a:pt x="1582" y="1336"/>
                </a:cubicBezTo>
                <a:close/>
                <a:moveTo>
                  <a:pt x="1573" y="1224"/>
                </a:moveTo>
                <a:cubicBezTo>
                  <a:pt x="1569" y="1226"/>
                  <a:pt x="1563" y="1237"/>
                  <a:pt x="1568" y="1246"/>
                </a:cubicBezTo>
                <a:cubicBezTo>
                  <a:pt x="1573" y="1255"/>
                  <a:pt x="1572" y="1273"/>
                  <a:pt x="1572" y="1273"/>
                </a:cubicBezTo>
                <a:cubicBezTo>
                  <a:pt x="1572" y="1273"/>
                  <a:pt x="1586" y="1265"/>
                  <a:pt x="1594" y="1256"/>
                </a:cubicBezTo>
                <a:cubicBezTo>
                  <a:pt x="1602" y="1247"/>
                  <a:pt x="1590" y="1235"/>
                  <a:pt x="1590" y="1235"/>
                </a:cubicBezTo>
                <a:cubicBezTo>
                  <a:pt x="1590" y="1235"/>
                  <a:pt x="1600" y="1234"/>
                  <a:pt x="1609" y="1224"/>
                </a:cubicBezTo>
                <a:cubicBezTo>
                  <a:pt x="1618" y="1214"/>
                  <a:pt x="1594" y="1196"/>
                  <a:pt x="1594" y="1196"/>
                </a:cubicBezTo>
                <a:cubicBezTo>
                  <a:pt x="1581" y="1205"/>
                  <a:pt x="1581" y="1205"/>
                  <a:pt x="1581" y="1205"/>
                </a:cubicBezTo>
                <a:cubicBezTo>
                  <a:pt x="1581" y="1205"/>
                  <a:pt x="1587" y="1211"/>
                  <a:pt x="1591" y="1212"/>
                </a:cubicBezTo>
                <a:cubicBezTo>
                  <a:pt x="1595" y="1213"/>
                  <a:pt x="1577" y="1222"/>
                  <a:pt x="1573" y="1224"/>
                </a:cubicBezTo>
                <a:close/>
                <a:moveTo>
                  <a:pt x="1636" y="1101"/>
                </a:moveTo>
                <a:cubicBezTo>
                  <a:pt x="1628" y="1108"/>
                  <a:pt x="1614" y="1124"/>
                  <a:pt x="1614" y="1124"/>
                </a:cubicBezTo>
                <a:cubicBezTo>
                  <a:pt x="1602" y="1148"/>
                  <a:pt x="1602" y="1148"/>
                  <a:pt x="1602" y="1148"/>
                </a:cubicBezTo>
                <a:cubicBezTo>
                  <a:pt x="1602" y="1148"/>
                  <a:pt x="1623" y="1144"/>
                  <a:pt x="1633" y="1135"/>
                </a:cubicBezTo>
                <a:cubicBezTo>
                  <a:pt x="1643" y="1126"/>
                  <a:pt x="1640" y="1117"/>
                  <a:pt x="1640" y="1117"/>
                </a:cubicBezTo>
                <a:cubicBezTo>
                  <a:pt x="1650" y="1107"/>
                  <a:pt x="1650" y="1107"/>
                  <a:pt x="1650" y="1107"/>
                </a:cubicBezTo>
                <a:cubicBezTo>
                  <a:pt x="1650" y="1107"/>
                  <a:pt x="1644" y="1094"/>
                  <a:pt x="1636" y="1101"/>
                </a:cubicBezTo>
                <a:close/>
                <a:moveTo>
                  <a:pt x="1614" y="1326"/>
                </a:moveTo>
                <a:cubicBezTo>
                  <a:pt x="1607" y="1344"/>
                  <a:pt x="1607" y="1344"/>
                  <a:pt x="1607" y="1344"/>
                </a:cubicBezTo>
                <a:cubicBezTo>
                  <a:pt x="1609" y="1356"/>
                  <a:pt x="1609" y="1356"/>
                  <a:pt x="1609" y="1356"/>
                </a:cubicBezTo>
                <a:cubicBezTo>
                  <a:pt x="1625" y="1346"/>
                  <a:pt x="1625" y="1346"/>
                  <a:pt x="1625" y="1346"/>
                </a:cubicBezTo>
                <a:lnTo>
                  <a:pt x="1614" y="1326"/>
                </a:lnTo>
                <a:close/>
                <a:moveTo>
                  <a:pt x="4282" y="982"/>
                </a:moveTo>
                <a:cubicBezTo>
                  <a:pt x="4259" y="984"/>
                  <a:pt x="4259" y="984"/>
                  <a:pt x="4259" y="984"/>
                </a:cubicBezTo>
                <a:cubicBezTo>
                  <a:pt x="4283" y="1000"/>
                  <a:pt x="4283" y="1000"/>
                  <a:pt x="4283" y="1000"/>
                </a:cubicBezTo>
                <a:cubicBezTo>
                  <a:pt x="4302" y="991"/>
                  <a:pt x="4282" y="982"/>
                  <a:pt x="4282" y="982"/>
                </a:cubicBezTo>
                <a:close/>
                <a:moveTo>
                  <a:pt x="4428" y="931"/>
                </a:moveTo>
                <a:cubicBezTo>
                  <a:pt x="4428" y="931"/>
                  <a:pt x="4406" y="926"/>
                  <a:pt x="4403" y="935"/>
                </a:cubicBezTo>
                <a:cubicBezTo>
                  <a:pt x="4403" y="935"/>
                  <a:pt x="4414" y="949"/>
                  <a:pt x="4425" y="942"/>
                </a:cubicBezTo>
                <a:cubicBezTo>
                  <a:pt x="4435" y="934"/>
                  <a:pt x="4428" y="931"/>
                  <a:pt x="4428" y="931"/>
                </a:cubicBezTo>
                <a:close/>
                <a:moveTo>
                  <a:pt x="1487" y="1399"/>
                </a:moveTo>
                <a:cubicBezTo>
                  <a:pt x="1487" y="1399"/>
                  <a:pt x="1482" y="1411"/>
                  <a:pt x="1498" y="1410"/>
                </a:cubicBezTo>
                <a:cubicBezTo>
                  <a:pt x="1509" y="1409"/>
                  <a:pt x="1498" y="1392"/>
                  <a:pt x="1495" y="1385"/>
                </a:cubicBezTo>
                <a:cubicBezTo>
                  <a:pt x="1492" y="1378"/>
                  <a:pt x="1500" y="1372"/>
                  <a:pt x="1505" y="1369"/>
                </a:cubicBezTo>
                <a:cubicBezTo>
                  <a:pt x="1510" y="1366"/>
                  <a:pt x="1518" y="1357"/>
                  <a:pt x="1516" y="1353"/>
                </a:cubicBezTo>
                <a:cubicBezTo>
                  <a:pt x="1516" y="1353"/>
                  <a:pt x="1514" y="1342"/>
                  <a:pt x="1520" y="1337"/>
                </a:cubicBezTo>
                <a:cubicBezTo>
                  <a:pt x="1526" y="1332"/>
                  <a:pt x="1537" y="1321"/>
                  <a:pt x="1546" y="1316"/>
                </a:cubicBezTo>
                <a:cubicBezTo>
                  <a:pt x="1555" y="1311"/>
                  <a:pt x="1568" y="1305"/>
                  <a:pt x="1564" y="1304"/>
                </a:cubicBezTo>
                <a:cubicBezTo>
                  <a:pt x="1560" y="1303"/>
                  <a:pt x="1544" y="1307"/>
                  <a:pt x="1538" y="1310"/>
                </a:cubicBezTo>
                <a:cubicBezTo>
                  <a:pt x="1532" y="1313"/>
                  <a:pt x="1527" y="1328"/>
                  <a:pt x="1517" y="1328"/>
                </a:cubicBezTo>
                <a:cubicBezTo>
                  <a:pt x="1507" y="1328"/>
                  <a:pt x="1506" y="1320"/>
                  <a:pt x="1516" y="1320"/>
                </a:cubicBezTo>
                <a:cubicBezTo>
                  <a:pt x="1526" y="1320"/>
                  <a:pt x="1544" y="1307"/>
                  <a:pt x="1530" y="1308"/>
                </a:cubicBezTo>
                <a:cubicBezTo>
                  <a:pt x="1516" y="1309"/>
                  <a:pt x="1514" y="1312"/>
                  <a:pt x="1514" y="1312"/>
                </a:cubicBezTo>
                <a:cubicBezTo>
                  <a:pt x="1514" y="1312"/>
                  <a:pt x="1517" y="1298"/>
                  <a:pt x="1506" y="1302"/>
                </a:cubicBezTo>
                <a:cubicBezTo>
                  <a:pt x="1495" y="1306"/>
                  <a:pt x="1493" y="1319"/>
                  <a:pt x="1493" y="1319"/>
                </a:cubicBezTo>
                <a:cubicBezTo>
                  <a:pt x="1485" y="1337"/>
                  <a:pt x="1485" y="1337"/>
                  <a:pt x="1485" y="1337"/>
                </a:cubicBezTo>
                <a:cubicBezTo>
                  <a:pt x="1485" y="1337"/>
                  <a:pt x="1482" y="1349"/>
                  <a:pt x="1485" y="1350"/>
                </a:cubicBezTo>
                <a:cubicBezTo>
                  <a:pt x="1488" y="1351"/>
                  <a:pt x="1491" y="1360"/>
                  <a:pt x="1491" y="1360"/>
                </a:cubicBezTo>
                <a:cubicBezTo>
                  <a:pt x="1482" y="1364"/>
                  <a:pt x="1482" y="1364"/>
                  <a:pt x="1482" y="1364"/>
                </a:cubicBezTo>
                <a:lnTo>
                  <a:pt x="1487" y="1399"/>
                </a:lnTo>
                <a:close/>
                <a:moveTo>
                  <a:pt x="3982" y="842"/>
                </a:moveTo>
                <a:cubicBezTo>
                  <a:pt x="3959" y="854"/>
                  <a:pt x="3991" y="862"/>
                  <a:pt x="3991" y="862"/>
                </a:cubicBezTo>
                <a:cubicBezTo>
                  <a:pt x="4014" y="849"/>
                  <a:pt x="4006" y="829"/>
                  <a:pt x="3982" y="842"/>
                </a:cubicBezTo>
                <a:close/>
                <a:moveTo>
                  <a:pt x="3698" y="1210"/>
                </a:moveTo>
                <a:cubicBezTo>
                  <a:pt x="3730" y="1209"/>
                  <a:pt x="3741" y="1183"/>
                  <a:pt x="3710" y="1183"/>
                </a:cubicBezTo>
                <a:cubicBezTo>
                  <a:pt x="3678" y="1184"/>
                  <a:pt x="3698" y="1210"/>
                  <a:pt x="3698" y="1210"/>
                </a:cubicBezTo>
                <a:close/>
                <a:moveTo>
                  <a:pt x="3875" y="899"/>
                </a:moveTo>
                <a:cubicBezTo>
                  <a:pt x="3834" y="912"/>
                  <a:pt x="3875" y="926"/>
                  <a:pt x="3875" y="926"/>
                </a:cubicBezTo>
                <a:cubicBezTo>
                  <a:pt x="3897" y="910"/>
                  <a:pt x="3916" y="885"/>
                  <a:pt x="3875" y="899"/>
                </a:cubicBezTo>
                <a:close/>
                <a:moveTo>
                  <a:pt x="3938" y="838"/>
                </a:moveTo>
                <a:cubicBezTo>
                  <a:pt x="3938" y="838"/>
                  <a:pt x="3915" y="835"/>
                  <a:pt x="3905" y="827"/>
                </a:cubicBezTo>
                <a:cubicBezTo>
                  <a:pt x="3895" y="819"/>
                  <a:pt x="3900" y="798"/>
                  <a:pt x="3900" y="798"/>
                </a:cubicBezTo>
                <a:cubicBezTo>
                  <a:pt x="3879" y="782"/>
                  <a:pt x="3879" y="782"/>
                  <a:pt x="3879" y="782"/>
                </a:cubicBezTo>
                <a:cubicBezTo>
                  <a:pt x="3852" y="785"/>
                  <a:pt x="3852" y="785"/>
                  <a:pt x="3852" y="785"/>
                </a:cubicBezTo>
                <a:cubicBezTo>
                  <a:pt x="3848" y="776"/>
                  <a:pt x="3848" y="776"/>
                  <a:pt x="3848" y="776"/>
                </a:cubicBezTo>
                <a:cubicBezTo>
                  <a:pt x="3835" y="754"/>
                  <a:pt x="3835" y="754"/>
                  <a:pt x="3835" y="754"/>
                </a:cubicBezTo>
                <a:cubicBezTo>
                  <a:pt x="3812" y="758"/>
                  <a:pt x="3812" y="758"/>
                  <a:pt x="3812" y="758"/>
                </a:cubicBezTo>
                <a:cubicBezTo>
                  <a:pt x="3799" y="751"/>
                  <a:pt x="3799" y="751"/>
                  <a:pt x="3799" y="751"/>
                </a:cubicBezTo>
                <a:cubicBezTo>
                  <a:pt x="3811" y="740"/>
                  <a:pt x="3811" y="740"/>
                  <a:pt x="3811" y="740"/>
                </a:cubicBezTo>
                <a:cubicBezTo>
                  <a:pt x="3809" y="723"/>
                  <a:pt x="3809" y="723"/>
                  <a:pt x="3809" y="723"/>
                </a:cubicBezTo>
                <a:cubicBezTo>
                  <a:pt x="3775" y="741"/>
                  <a:pt x="3775" y="741"/>
                  <a:pt x="3775" y="741"/>
                </a:cubicBezTo>
                <a:cubicBezTo>
                  <a:pt x="3758" y="749"/>
                  <a:pt x="3758" y="749"/>
                  <a:pt x="3758" y="749"/>
                </a:cubicBezTo>
                <a:cubicBezTo>
                  <a:pt x="3739" y="777"/>
                  <a:pt x="3739" y="777"/>
                  <a:pt x="3739" y="777"/>
                </a:cubicBezTo>
                <a:cubicBezTo>
                  <a:pt x="3739" y="777"/>
                  <a:pt x="3708" y="784"/>
                  <a:pt x="3706" y="790"/>
                </a:cubicBezTo>
                <a:cubicBezTo>
                  <a:pt x="3704" y="796"/>
                  <a:pt x="3716" y="803"/>
                  <a:pt x="3706" y="806"/>
                </a:cubicBezTo>
                <a:cubicBezTo>
                  <a:pt x="3697" y="810"/>
                  <a:pt x="3668" y="820"/>
                  <a:pt x="3668" y="820"/>
                </a:cubicBezTo>
                <a:cubicBezTo>
                  <a:pt x="3685" y="828"/>
                  <a:pt x="3685" y="828"/>
                  <a:pt x="3685" y="828"/>
                </a:cubicBezTo>
                <a:cubicBezTo>
                  <a:pt x="3685" y="828"/>
                  <a:pt x="3712" y="824"/>
                  <a:pt x="3713" y="827"/>
                </a:cubicBezTo>
                <a:cubicBezTo>
                  <a:pt x="3713" y="830"/>
                  <a:pt x="3707" y="835"/>
                  <a:pt x="3707" y="846"/>
                </a:cubicBezTo>
                <a:cubicBezTo>
                  <a:pt x="3707" y="857"/>
                  <a:pt x="3750" y="858"/>
                  <a:pt x="3769" y="848"/>
                </a:cubicBezTo>
                <a:cubicBezTo>
                  <a:pt x="3788" y="839"/>
                  <a:pt x="3778" y="821"/>
                  <a:pt x="3806" y="822"/>
                </a:cubicBezTo>
                <a:cubicBezTo>
                  <a:pt x="3833" y="822"/>
                  <a:pt x="3837" y="831"/>
                  <a:pt x="3837" y="831"/>
                </a:cubicBezTo>
                <a:cubicBezTo>
                  <a:pt x="3868" y="836"/>
                  <a:pt x="3868" y="836"/>
                  <a:pt x="3868" y="836"/>
                </a:cubicBezTo>
                <a:cubicBezTo>
                  <a:pt x="3872" y="847"/>
                  <a:pt x="3872" y="847"/>
                  <a:pt x="3872" y="847"/>
                </a:cubicBezTo>
                <a:cubicBezTo>
                  <a:pt x="3934" y="851"/>
                  <a:pt x="3934" y="851"/>
                  <a:pt x="3934" y="851"/>
                </a:cubicBezTo>
                <a:lnTo>
                  <a:pt x="3938" y="838"/>
                </a:lnTo>
                <a:close/>
                <a:moveTo>
                  <a:pt x="3767" y="885"/>
                </a:moveTo>
                <a:cubicBezTo>
                  <a:pt x="3712" y="935"/>
                  <a:pt x="3802" y="899"/>
                  <a:pt x="3802" y="899"/>
                </a:cubicBezTo>
                <a:cubicBezTo>
                  <a:pt x="3848" y="856"/>
                  <a:pt x="3821" y="834"/>
                  <a:pt x="3767" y="885"/>
                </a:cubicBezTo>
                <a:close/>
                <a:moveTo>
                  <a:pt x="4240" y="874"/>
                </a:moveTo>
                <a:cubicBezTo>
                  <a:pt x="4228" y="875"/>
                  <a:pt x="4229" y="891"/>
                  <a:pt x="4243" y="891"/>
                </a:cubicBezTo>
                <a:cubicBezTo>
                  <a:pt x="4267" y="891"/>
                  <a:pt x="4253" y="872"/>
                  <a:pt x="4240" y="874"/>
                </a:cubicBezTo>
                <a:close/>
                <a:moveTo>
                  <a:pt x="1646" y="1241"/>
                </a:moveTo>
                <a:cubicBezTo>
                  <a:pt x="1652" y="1228"/>
                  <a:pt x="1637" y="1213"/>
                  <a:pt x="1627" y="1223"/>
                </a:cubicBezTo>
                <a:cubicBezTo>
                  <a:pt x="1617" y="1233"/>
                  <a:pt x="1611" y="1263"/>
                  <a:pt x="1611" y="1263"/>
                </a:cubicBezTo>
                <a:cubicBezTo>
                  <a:pt x="1611" y="1263"/>
                  <a:pt x="1624" y="1252"/>
                  <a:pt x="1629" y="1252"/>
                </a:cubicBezTo>
                <a:cubicBezTo>
                  <a:pt x="1634" y="1252"/>
                  <a:pt x="1640" y="1254"/>
                  <a:pt x="1646" y="1241"/>
                </a:cubicBezTo>
                <a:close/>
                <a:moveTo>
                  <a:pt x="1638" y="1161"/>
                </a:moveTo>
                <a:cubicBezTo>
                  <a:pt x="1620" y="1158"/>
                  <a:pt x="1620" y="1158"/>
                  <a:pt x="1620" y="1158"/>
                </a:cubicBezTo>
                <a:cubicBezTo>
                  <a:pt x="1620" y="1158"/>
                  <a:pt x="1595" y="1176"/>
                  <a:pt x="1598" y="1183"/>
                </a:cubicBezTo>
                <a:cubicBezTo>
                  <a:pt x="1604" y="1197"/>
                  <a:pt x="1624" y="1175"/>
                  <a:pt x="1624" y="1175"/>
                </a:cubicBezTo>
                <a:cubicBezTo>
                  <a:pt x="1639" y="1171"/>
                  <a:pt x="1639" y="1171"/>
                  <a:pt x="1639" y="1171"/>
                </a:cubicBezTo>
                <a:lnTo>
                  <a:pt x="1638" y="1161"/>
                </a:lnTo>
                <a:close/>
                <a:moveTo>
                  <a:pt x="1553" y="1272"/>
                </a:moveTo>
                <a:cubicBezTo>
                  <a:pt x="1559" y="1247"/>
                  <a:pt x="1559" y="1247"/>
                  <a:pt x="1559" y="1247"/>
                </a:cubicBezTo>
                <a:cubicBezTo>
                  <a:pt x="1548" y="1252"/>
                  <a:pt x="1548" y="1252"/>
                  <a:pt x="1548" y="1252"/>
                </a:cubicBezTo>
                <a:cubicBezTo>
                  <a:pt x="1544" y="1271"/>
                  <a:pt x="1544" y="1271"/>
                  <a:pt x="1544" y="1271"/>
                </a:cubicBezTo>
                <a:lnTo>
                  <a:pt x="1553" y="1272"/>
                </a:lnTo>
                <a:close/>
                <a:moveTo>
                  <a:pt x="1558" y="1149"/>
                </a:moveTo>
                <a:cubicBezTo>
                  <a:pt x="1557" y="1155"/>
                  <a:pt x="1550" y="1168"/>
                  <a:pt x="1550" y="1168"/>
                </a:cubicBezTo>
                <a:cubicBezTo>
                  <a:pt x="1549" y="1177"/>
                  <a:pt x="1549" y="1177"/>
                  <a:pt x="1549" y="1177"/>
                </a:cubicBezTo>
                <a:cubicBezTo>
                  <a:pt x="1549" y="1177"/>
                  <a:pt x="1541" y="1181"/>
                  <a:pt x="1540" y="1188"/>
                </a:cubicBezTo>
                <a:cubicBezTo>
                  <a:pt x="1539" y="1195"/>
                  <a:pt x="1546" y="1199"/>
                  <a:pt x="1546" y="1199"/>
                </a:cubicBezTo>
                <a:cubicBezTo>
                  <a:pt x="1546" y="1199"/>
                  <a:pt x="1559" y="1179"/>
                  <a:pt x="1576" y="1166"/>
                </a:cubicBezTo>
                <a:cubicBezTo>
                  <a:pt x="1593" y="1153"/>
                  <a:pt x="1590" y="1138"/>
                  <a:pt x="1583" y="1135"/>
                </a:cubicBezTo>
                <a:cubicBezTo>
                  <a:pt x="1576" y="1132"/>
                  <a:pt x="1559" y="1143"/>
                  <a:pt x="1558" y="1149"/>
                </a:cubicBezTo>
                <a:close/>
                <a:moveTo>
                  <a:pt x="4429" y="4263"/>
                </a:moveTo>
                <a:cubicBezTo>
                  <a:pt x="4438" y="4234"/>
                  <a:pt x="4438" y="4234"/>
                  <a:pt x="4438" y="4234"/>
                </a:cubicBezTo>
                <a:cubicBezTo>
                  <a:pt x="4438" y="4234"/>
                  <a:pt x="4445" y="4220"/>
                  <a:pt x="4444" y="4207"/>
                </a:cubicBezTo>
                <a:cubicBezTo>
                  <a:pt x="4443" y="4194"/>
                  <a:pt x="4423" y="4199"/>
                  <a:pt x="4412" y="4199"/>
                </a:cubicBezTo>
                <a:cubicBezTo>
                  <a:pt x="4412" y="4199"/>
                  <a:pt x="4396" y="4208"/>
                  <a:pt x="4389" y="4207"/>
                </a:cubicBezTo>
                <a:cubicBezTo>
                  <a:pt x="4383" y="4206"/>
                  <a:pt x="4355" y="4199"/>
                  <a:pt x="4345" y="4201"/>
                </a:cubicBezTo>
                <a:cubicBezTo>
                  <a:pt x="4335" y="4203"/>
                  <a:pt x="4346" y="4226"/>
                  <a:pt x="4346" y="4226"/>
                </a:cubicBezTo>
                <a:cubicBezTo>
                  <a:pt x="4335" y="4228"/>
                  <a:pt x="4335" y="4228"/>
                  <a:pt x="4335" y="4228"/>
                </a:cubicBezTo>
                <a:cubicBezTo>
                  <a:pt x="4335" y="4244"/>
                  <a:pt x="4335" y="4244"/>
                  <a:pt x="4335" y="4244"/>
                </a:cubicBezTo>
                <a:cubicBezTo>
                  <a:pt x="4349" y="4250"/>
                  <a:pt x="4349" y="4250"/>
                  <a:pt x="4349" y="4250"/>
                </a:cubicBezTo>
                <a:cubicBezTo>
                  <a:pt x="4339" y="4258"/>
                  <a:pt x="4339" y="4258"/>
                  <a:pt x="4339" y="4258"/>
                </a:cubicBezTo>
                <a:cubicBezTo>
                  <a:pt x="4339" y="4258"/>
                  <a:pt x="4342" y="4274"/>
                  <a:pt x="4348" y="4284"/>
                </a:cubicBezTo>
                <a:cubicBezTo>
                  <a:pt x="4355" y="4294"/>
                  <a:pt x="4375" y="4288"/>
                  <a:pt x="4382" y="4288"/>
                </a:cubicBezTo>
                <a:cubicBezTo>
                  <a:pt x="4388" y="4288"/>
                  <a:pt x="4387" y="4280"/>
                  <a:pt x="4387" y="4280"/>
                </a:cubicBezTo>
                <a:cubicBezTo>
                  <a:pt x="4387" y="4280"/>
                  <a:pt x="4400" y="4276"/>
                  <a:pt x="4411" y="4276"/>
                </a:cubicBezTo>
                <a:cubicBezTo>
                  <a:pt x="4422" y="4276"/>
                  <a:pt x="4429" y="4263"/>
                  <a:pt x="4429" y="4263"/>
                </a:cubicBezTo>
                <a:close/>
                <a:moveTo>
                  <a:pt x="4330" y="4191"/>
                </a:moveTo>
                <a:cubicBezTo>
                  <a:pt x="4317" y="4207"/>
                  <a:pt x="4317" y="4207"/>
                  <a:pt x="4317" y="4207"/>
                </a:cubicBezTo>
                <a:cubicBezTo>
                  <a:pt x="4328" y="4212"/>
                  <a:pt x="4328" y="4212"/>
                  <a:pt x="4328" y="4212"/>
                </a:cubicBezTo>
                <a:cubicBezTo>
                  <a:pt x="4339" y="4195"/>
                  <a:pt x="4339" y="4195"/>
                  <a:pt x="4339" y="4195"/>
                </a:cubicBezTo>
                <a:lnTo>
                  <a:pt x="4330" y="4191"/>
                </a:lnTo>
                <a:close/>
                <a:moveTo>
                  <a:pt x="4367" y="4178"/>
                </a:moveTo>
                <a:cubicBezTo>
                  <a:pt x="4353" y="4179"/>
                  <a:pt x="4353" y="4179"/>
                  <a:pt x="4353" y="4179"/>
                </a:cubicBezTo>
                <a:cubicBezTo>
                  <a:pt x="4352" y="4190"/>
                  <a:pt x="4352" y="4190"/>
                  <a:pt x="4352" y="4190"/>
                </a:cubicBezTo>
                <a:cubicBezTo>
                  <a:pt x="4374" y="4191"/>
                  <a:pt x="4374" y="4191"/>
                  <a:pt x="4374" y="4191"/>
                </a:cubicBezTo>
                <a:cubicBezTo>
                  <a:pt x="4386" y="4174"/>
                  <a:pt x="4386" y="4174"/>
                  <a:pt x="4386" y="4174"/>
                </a:cubicBezTo>
                <a:cubicBezTo>
                  <a:pt x="4377" y="4163"/>
                  <a:pt x="4377" y="4163"/>
                  <a:pt x="4377" y="4163"/>
                </a:cubicBezTo>
                <a:lnTo>
                  <a:pt x="4367" y="4178"/>
                </a:lnTo>
                <a:close/>
                <a:moveTo>
                  <a:pt x="4402" y="4194"/>
                </a:moveTo>
                <a:cubicBezTo>
                  <a:pt x="4390" y="4183"/>
                  <a:pt x="4390" y="4183"/>
                  <a:pt x="4390" y="4183"/>
                </a:cubicBezTo>
                <a:cubicBezTo>
                  <a:pt x="4375" y="4200"/>
                  <a:pt x="4375" y="4200"/>
                  <a:pt x="4375" y="4200"/>
                </a:cubicBezTo>
                <a:cubicBezTo>
                  <a:pt x="4387" y="4199"/>
                  <a:pt x="4387" y="4199"/>
                  <a:pt x="4387" y="4199"/>
                </a:cubicBezTo>
                <a:lnTo>
                  <a:pt x="4402" y="4194"/>
                </a:lnTo>
                <a:close/>
                <a:moveTo>
                  <a:pt x="3763" y="6942"/>
                </a:moveTo>
                <a:cubicBezTo>
                  <a:pt x="3766" y="6925"/>
                  <a:pt x="3766" y="6925"/>
                  <a:pt x="3766" y="6925"/>
                </a:cubicBezTo>
                <a:cubicBezTo>
                  <a:pt x="3763" y="6900"/>
                  <a:pt x="3763" y="6900"/>
                  <a:pt x="3763" y="6900"/>
                </a:cubicBezTo>
                <a:cubicBezTo>
                  <a:pt x="3752" y="6896"/>
                  <a:pt x="3752" y="6896"/>
                  <a:pt x="3752" y="6896"/>
                </a:cubicBezTo>
                <a:cubicBezTo>
                  <a:pt x="3752" y="6907"/>
                  <a:pt x="3752" y="6907"/>
                  <a:pt x="3752" y="6907"/>
                </a:cubicBezTo>
                <a:cubicBezTo>
                  <a:pt x="3730" y="6903"/>
                  <a:pt x="3730" y="6903"/>
                  <a:pt x="3730" y="6903"/>
                </a:cubicBezTo>
                <a:cubicBezTo>
                  <a:pt x="3747" y="6926"/>
                  <a:pt x="3747" y="6926"/>
                  <a:pt x="3747" y="6926"/>
                </a:cubicBezTo>
                <a:cubicBezTo>
                  <a:pt x="3743" y="6955"/>
                  <a:pt x="3743" y="6955"/>
                  <a:pt x="3743" y="6955"/>
                </a:cubicBezTo>
                <a:lnTo>
                  <a:pt x="3763" y="6942"/>
                </a:lnTo>
                <a:close/>
                <a:moveTo>
                  <a:pt x="4098" y="7134"/>
                </a:moveTo>
                <a:cubicBezTo>
                  <a:pt x="4104" y="7128"/>
                  <a:pt x="4104" y="7128"/>
                  <a:pt x="4104" y="7128"/>
                </a:cubicBezTo>
                <a:cubicBezTo>
                  <a:pt x="4077" y="7125"/>
                  <a:pt x="4077" y="7125"/>
                  <a:pt x="4077" y="7125"/>
                </a:cubicBezTo>
                <a:cubicBezTo>
                  <a:pt x="4053" y="7125"/>
                  <a:pt x="4053" y="7125"/>
                  <a:pt x="4053" y="7125"/>
                </a:cubicBezTo>
                <a:cubicBezTo>
                  <a:pt x="4062" y="7149"/>
                  <a:pt x="4062" y="7149"/>
                  <a:pt x="4062" y="7149"/>
                </a:cubicBezTo>
                <a:cubicBezTo>
                  <a:pt x="4085" y="7151"/>
                  <a:pt x="4085" y="7151"/>
                  <a:pt x="4085" y="7151"/>
                </a:cubicBezTo>
                <a:cubicBezTo>
                  <a:pt x="4079" y="7141"/>
                  <a:pt x="4079" y="7141"/>
                  <a:pt x="4079" y="7141"/>
                </a:cubicBezTo>
                <a:cubicBezTo>
                  <a:pt x="4085" y="7137"/>
                  <a:pt x="4085" y="7137"/>
                  <a:pt x="4085" y="7137"/>
                </a:cubicBezTo>
                <a:cubicBezTo>
                  <a:pt x="4092" y="7147"/>
                  <a:pt x="4092" y="7147"/>
                  <a:pt x="4092" y="7147"/>
                </a:cubicBezTo>
                <a:cubicBezTo>
                  <a:pt x="4123" y="7147"/>
                  <a:pt x="4123" y="7147"/>
                  <a:pt x="4123" y="7147"/>
                </a:cubicBezTo>
                <a:cubicBezTo>
                  <a:pt x="4133" y="7159"/>
                  <a:pt x="4133" y="7159"/>
                  <a:pt x="4133" y="7159"/>
                </a:cubicBezTo>
                <a:cubicBezTo>
                  <a:pt x="4146" y="7159"/>
                  <a:pt x="4146" y="7159"/>
                  <a:pt x="4146" y="7159"/>
                </a:cubicBezTo>
                <a:cubicBezTo>
                  <a:pt x="4126" y="7138"/>
                  <a:pt x="4126" y="7138"/>
                  <a:pt x="4126" y="7138"/>
                </a:cubicBezTo>
                <a:lnTo>
                  <a:pt x="4098" y="7134"/>
                </a:lnTo>
                <a:close/>
                <a:moveTo>
                  <a:pt x="3867" y="6985"/>
                </a:moveTo>
                <a:cubicBezTo>
                  <a:pt x="3867" y="6985"/>
                  <a:pt x="3841" y="6972"/>
                  <a:pt x="3838" y="6984"/>
                </a:cubicBezTo>
                <a:cubicBezTo>
                  <a:pt x="3835" y="6996"/>
                  <a:pt x="3831" y="7011"/>
                  <a:pt x="3835" y="7011"/>
                </a:cubicBezTo>
                <a:cubicBezTo>
                  <a:pt x="3840" y="7011"/>
                  <a:pt x="3857" y="7004"/>
                  <a:pt x="3857" y="7004"/>
                </a:cubicBezTo>
                <a:cubicBezTo>
                  <a:pt x="3859" y="7020"/>
                  <a:pt x="3859" y="7020"/>
                  <a:pt x="3859" y="7020"/>
                </a:cubicBezTo>
                <a:cubicBezTo>
                  <a:pt x="3880" y="7010"/>
                  <a:pt x="3880" y="7010"/>
                  <a:pt x="3880" y="7010"/>
                </a:cubicBezTo>
                <a:cubicBezTo>
                  <a:pt x="3869" y="7000"/>
                  <a:pt x="3869" y="7000"/>
                  <a:pt x="3869" y="7000"/>
                </a:cubicBezTo>
                <a:cubicBezTo>
                  <a:pt x="3873" y="6988"/>
                  <a:pt x="3873" y="6988"/>
                  <a:pt x="3873" y="6988"/>
                </a:cubicBezTo>
                <a:lnTo>
                  <a:pt x="3867" y="6985"/>
                </a:lnTo>
                <a:close/>
                <a:moveTo>
                  <a:pt x="3994" y="7061"/>
                </a:moveTo>
                <a:cubicBezTo>
                  <a:pt x="3986" y="7072"/>
                  <a:pt x="3986" y="7072"/>
                  <a:pt x="3986" y="7072"/>
                </a:cubicBezTo>
                <a:cubicBezTo>
                  <a:pt x="3990" y="7092"/>
                  <a:pt x="3990" y="7092"/>
                  <a:pt x="3990" y="7092"/>
                </a:cubicBezTo>
                <a:cubicBezTo>
                  <a:pt x="4006" y="7086"/>
                  <a:pt x="4006" y="7086"/>
                  <a:pt x="4006" y="7086"/>
                </a:cubicBezTo>
                <a:lnTo>
                  <a:pt x="3994" y="7061"/>
                </a:lnTo>
                <a:close/>
                <a:moveTo>
                  <a:pt x="3997" y="7104"/>
                </a:moveTo>
                <a:cubicBezTo>
                  <a:pt x="3955" y="7099"/>
                  <a:pt x="3955" y="7099"/>
                  <a:pt x="3955" y="7099"/>
                </a:cubicBezTo>
                <a:cubicBezTo>
                  <a:pt x="3960" y="7111"/>
                  <a:pt x="3960" y="7111"/>
                  <a:pt x="3960" y="7111"/>
                </a:cubicBezTo>
                <a:cubicBezTo>
                  <a:pt x="3987" y="7110"/>
                  <a:pt x="3987" y="7110"/>
                  <a:pt x="3987" y="7110"/>
                </a:cubicBezTo>
                <a:cubicBezTo>
                  <a:pt x="3997" y="7124"/>
                  <a:pt x="3997" y="7124"/>
                  <a:pt x="3997" y="7124"/>
                </a:cubicBezTo>
                <a:cubicBezTo>
                  <a:pt x="4035" y="7140"/>
                  <a:pt x="4035" y="7140"/>
                  <a:pt x="4035" y="7140"/>
                </a:cubicBezTo>
                <a:cubicBezTo>
                  <a:pt x="4012" y="7120"/>
                  <a:pt x="4012" y="7120"/>
                  <a:pt x="4012" y="7120"/>
                </a:cubicBezTo>
                <a:lnTo>
                  <a:pt x="3997" y="7104"/>
                </a:lnTo>
                <a:close/>
                <a:moveTo>
                  <a:pt x="3975" y="7091"/>
                </a:moveTo>
                <a:cubicBezTo>
                  <a:pt x="3973" y="7079"/>
                  <a:pt x="3973" y="7079"/>
                  <a:pt x="3973" y="7079"/>
                </a:cubicBezTo>
                <a:cubicBezTo>
                  <a:pt x="3939" y="7071"/>
                  <a:pt x="3939" y="7071"/>
                  <a:pt x="3939" y="7071"/>
                </a:cubicBezTo>
                <a:cubicBezTo>
                  <a:pt x="3931" y="7082"/>
                  <a:pt x="3931" y="7082"/>
                  <a:pt x="3931" y="7082"/>
                </a:cubicBezTo>
                <a:cubicBezTo>
                  <a:pt x="3932" y="7095"/>
                  <a:pt x="3932" y="7095"/>
                  <a:pt x="3932" y="7095"/>
                </a:cubicBezTo>
                <a:cubicBezTo>
                  <a:pt x="3955" y="7086"/>
                  <a:pt x="3955" y="7086"/>
                  <a:pt x="3955" y="7086"/>
                </a:cubicBezTo>
                <a:lnTo>
                  <a:pt x="3975" y="7091"/>
                </a:lnTo>
                <a:close/>
                <a:moveTo>
                  <a:pt x="4085" y="7040"/>
                </a:moveTo>
                <a:cubicBezTo>
                  <a:pt x="4062" y="7040"/>
                  <a:pt x="4062" y="7040"/>
                  <a:pt x="4062" y="7040"/>
                </a:cubicBezTo>
                <a:cubicBezTo>
                  <a:pt x="4066" y="7029"/>
                  <a:pt x="4066" y="7029"/>
                  <a:pt x="4066" y="7029"/>
                </a:cubicBezTo>
                <a:cubicBezTo>
                  <a:pt x="4040" y="7003"/>
                  <a:pt x="4040" y="7003"/>
                  <a:pt x="4040" y="7003"/>
                </a:cubicBezTo>
                <a:cubicBezTo>
                  <a:pt x="4019" y="7009"/>
                  <a:pt x="4019" y="7009"/>
                  <a:pt x="4019" y="7009"/>
                </a:cubicBezTo>
                <a:cubicBezTo>
                  <a:pt x="4010" y="7001"/>
                  <a:pt x="4010" y="7001"/>
                  <a:pt x="4010" y="7001"/>
                </a:cubicBezTo>
                <a:cubicBezTo>
                  <a:pt x="4003" y="7013"/>
                  <a:pt x="4003" y="7013"/>
                  <a:pt x="4003" y="7013"/>
                </a:cubicBezTo>
                <a:cubicBezTo>
                  <a:pt x="3990" y="7016"/>
                  <a:pt x="3990" y="7016"/>
                  <a:pt x="3990" y="7016"/>
                </a:cubicBezTo>
                <a:cubicBezTo>
                  <a:pt x="3991" y="7027"/>
                  <a:pt x="3991" y="7027"/>
                  <a:pt x="3991" y="7027"/>
                </a:cubicBezTo>
                <a:cubicBezTo>
                  <a:pt x="3980" y="7029"/>
                  <a:pt x="3980" y="7029"/>
                  <a:pt x="3980" y="7029"/>
                </a:cubicBezTo>
                <a:cubicBezTo>
                  <a:pt x="3981" y="7047"/>
                  <a:pt x="3981" y="7047"/>
                  <a:pt x="3981" y="7047"/>
                </a:cubicBezTo>
                <a:cubicBezTo>
                  <a:pt x="3994" y="7060"/>
                  <a:pt x="4017" y="7037"/>
                  <a:pt x="4017" y="7037"/>
                </a:cubicBezTo>
                <a:cubicBezTo>
                  <a:pt x="4032" y="7043"/>
                  <a:pt x="4032" y="7043"/>
                  <a:pt x="4032" y="7043"/>
                </a:cubicBezTo>
                <a:cubicBezTo>
                  <a:pt x="4032" y="7056"/>
                  <a:pt x="4032" y="7056"/>
                  <a:pt x="4032" y="7056"/>
                </a:cubicBezTo>
                <a:cubicBezTo>
                  <a:pt x="4032" y="7056"/>
                  <a:pt x="4001" y="7071"/>
                  <a:pt x="4012" y="7075"/>
                </a:cubicBezTo>
                <a:cubicBezTo>
                  <a:pt x="4022" y="7079"/>
                  <a:pt x="4075" y="7097"/>
                  <a:pt x="4075" y="7097"/>
                </a:cubicBezTo>
                <a:cubicBezTo>
                  <a:pt x="4065" y="7111"/>
                  <a:pt x="4065" y="7111"/>
                  <a:pt x="4065" y="7111"/>
                </a:cubicBezTo>
                <a:cubicBezTo>
                  <a:pt x="4065" y="7111"/>
                  <a:pt x="4062" y="7098"/>
                  <a:pt x="4052" y="7098"/>
                </a:cubicBezTo>
                <a:cubicBezTo>
                  <a:pt x="4042" y="7098"/>
                  <a:pt x="4039" y="7105"/>
                  <a:pt x="4039" y="7105"/>
                </a:cubicBezTo>
                <a:cubicBezTo>
                  <a:pt x="4027" y="7091"/>
                  <a:pt x="4027" y="7091"/>
                  <a:pt x="4027" y="7091"/>
                </a:cubicBezTo>
                <a:cubicBezTo>
                  <a:pt x="4016" y="7095"/>
                  <a:pt x="4016" y="7095"/>
                  <a:pt x="4016" y="7095"/>
                </a:cubicBezTo>
                <a:cubicBezTo>
                  <a:pt x="4025" y="7102"/>
                  <a:pt x="4025" y="7102"/>
                  <a:pt x="4025" y="7102"/>
                </a:cubicBezTo>
                <a:cubicBezTo>
                  <a:pt x="4004" y="7099"/>
                  <a:pt x="4004" y="7099"/>
                  <a:pt x="4004" y="7099"/>
                </a:cubicBezTo>
                <a:cubicBezTo>
                  <a:pt x="4004" y="7099"/>
                  <a:pt x="4010" y="7115"/>
                  <a:pt x="4026" y="7115"/>
                </a:cubicBezTo>
                <a:cubicBezTo>
                  <a:pt x="4042" y="7115"/>
                  <a:pt x="4055" y="7115"/>
                  <a:pt x="4055" y="7115"/>
                </a:cubicBezTo>
                <a:cubicBezTo>
                  <a:pt x="4055" y="7115"/>
                  <a:pt x="4071" y="7121"/>
                  <a:pt x="4081" y="7120"/>
                </a:cubicBezTo>
                <a:cubicBezTo>
                  <a:pt x="4091" y="7118"/>
                  <a:pt x="4136" y="7118"/>
                  <a:pt x="4150" y="7118"/>
                </a:cubicBezTo>
                <a:cubicBezTo>
                  <a:pt x="4165" y="7118"/>
                  <a:pt x="4185" y="7131"/>
                  <a:pt x="4185" y="7131"/>
                </a:cubicBezTo>
                <a:cubicBezTo>
                  <a:pt x="4206" y="7120"/>
                  <a:pt x="4206" y="7120"/>
                  <a:pt x="4206" y="7120"/>
                </a:cubicBezTo>
                <a:cubicBezTo>
                  <a:pt x="4218" y="7124"/>
                  <a:pt x="4218" y="7124"/>
                  <a:pt x="4218" y="7124"/>
                </a:cubicBezTo>
                <a:cubicBezTo>
                  <a:pt x="4230" y="7123"/>
                  <a:pt x="4230" y="7123"/>
                  <a:pt x="4230" y="7123"/>
                </a:cubicBezTo>
                <a:cubicBezTo>
                  <a:pt x="4231" y="7107"/>
                  <a:pt x="4231" y="7107"/>
                  <a:pt x="4231" y="7107"/>
                </a:cubicBezTo>
                <a:cubicBezTo>
                  <a:pt x="4231" y="7107"/>
                  <a:pt x="4189" y="7105"/>
                  <a:pt x="4137" y="7079"/>
                </a:cubicBezTo>
                <a:cubicBezTo>
                  <a:pt x="4085" y="7053"/>
                  <a:pt x="4085" y="7040"/>
                  <a:pt x="4085" y="7040"/>
                </a:cubicBezTo>
                <a:close/>
                <a:moveTo>
                  <a:pt x="4118" y="7130"/>
                </a:moveTo>
                <a:cubicBezTo>
                  <a:pt x="4136" y="7140"/>
                  <a:pt x="4136" y="7140"/>
                  <a:pt x="4136" y="7140"/>
                </a:cubicBezTo>
                <a:cubicBezTo>
                  <a:pt x="4172" y="7143"/>
                  <a:pt x="4172" y="7143"/>
                  <a:pt x="4172" y="7143"/>
                </a:cubicBezTo>
                <a:cubicBezTo>
                  <a:pt x="4153" y="7125"/>
                  <a:pt x="4153" y="7125"/>
                  <a:pt x="4153" y="7125"/>
                </a:cubicBezTo>
                <a:lnTo>
                  <a:pt x="4118" y="7130"/>
                </a:lnTo>
                <a:close/>
                <a:moveTo>
                  <a:pt x="4293" y="4234"/>
                </a:moveTo>
                <a:cubicBezTo>
                  <a:pt x="4290" y="4248"/>
                  <a:pt x="4290" y="4248"/>
                  <a:pt x="4290" y="4248"/>
                </a:cubicBezTo>
                <a:cubicBezTo>
                  <a:pt x="4280" y="4271"/>
                  <a:pt x="4280" y="4271"/>
                  <a:pt x="4280" y="4271"/>
                </a:cubicBezTo>
                <a:cubicBezTo>
                  <a:pt x="4300" y="4259"/>
                  <a:pt x="4300" y="4259"/>
                  <a:pt x="4300" y="4259"/>
                </a:cubicBezTo>
                <a:cubicBezTo>
                  <a:pt x="4300" y="4259"/>
                  <a:pt x="4322" y="4229"/>
                  <a:pt x="4314" y="4224"/>
                </a:cubicBezTo>
                <a:cubicBezTo>
                  <a:pt x="4305" y="4218"/>
                  <a:pt x="4293" y="4234"/>
                  <a:pt x="4293" y="4234"/>
                </a:cubicBezTo>
                <a:close/>
                <a:moveTo>
                  <a:pt x="3623" y="6528"/>
                </a:moveTo>
                <a:cubicBezTo>
                  <a:pt x="3625" y="6496"/>
                  <a:pt x="3625" y="6496"/>
                  <a:pt x="3625" y="6496"/>
                </a:cubicBezTo>
                <a:cubicBezTo>
                  <a:pt x="3604" y="6476"/>
                  <a:pt x="3604" y="6476"/>
                  <a:pt x="3604" y="6476"/>
                </a:cubicBezTo>
                <a:cubicBezTo>
                  <a:pt x="3614" y="6466"/>
                  <a:pt x="3614" y="6466"/>
                  <a:pt x="3614" y="6466"/>
                </a:cubicBezTo>
                <a:cubicBezTo>
                  <a:pt x="3600" y="6450"/>
                  <a:pt x="3600" y="6450"/>
                  <a:pt x="3600" y="6450"/>
                </a:cubicBezTo>
                <a:cubicBezTo>
                  <a:pt x="3577" y="6441"/>
                  <a:pt x="3577" y="6441"/>
                  <a:pt x="3577" y="6441"/>
                </a:cubicBezTo>
                <a:cubicBezTo>
                  <a:pt x="3577" y="6441"/>
                  <a:pt x="3574" y="6477"/>
                  <a:pt x="3583" y="6480"/>
                </a:cubicBezTo>
                <a:cubicBezTo>
                  <a:pt x="3591" y="6483"/>
                  <a:pt x="3597" y="6503"/>
                  <a:pt x="3597" y="6503"/>
                </a:cubicBezTo>
                <a:cubicBezTo>
                  <a:pt x="3593" y="6516"/>
                  <a:pt x="3593" y="6516"/>
                  <a:pt x="3593" y="6516"/>
                </a:cubicBezTo>
                <a:lnTo>
                  <a:pt x="3623" y="6528"/>
                </a:lnTo>
                <a:close/>
                <a:moveTo>
                  <a:pt x="3672" y="6600"/>
                </a:moveTo>
                <a:cubicBezTo>
                  <a:pt x="3672" y="6600"/>
                  <a:pt x="3704" y="6581"/>
                  <a:pt x="3682" y="6577"/>
                </a:cubicBezTo>
                <a:cubicBezTo>
                  <a:pt x="3661" y="6572"/>
                  <a:pt x="3659" y="6600"/>
                  <a:pt x="3672" y="6600"/>
                </a:cubicBezTo>
                <a:close/>
                <a:moveTo>
                  <a:pt x="5098" y="4575"/>
                </a:moveTo>
                <a:cubicBezTo>
                  <a:pt x="5098" y="4558"/>
                  <a:pt x="5082" y="4534"/>
                  <a:pt x="5081" y="4523"/>
                </a:cubicBezTo>
                <a:cubicBezTo>
                  <a:pt x="5080" y="4512"/>
                  <a:pt x="5080" y="4500"/>
                  <a:pt x="5080" y="4491"/>
                </a:cubicBezTo>
                <a:cubicBezTo>
                  <a:pt x="5080" y="4482"/>
                  <a:pt x="5062" y="4466"/>
                  <a:pt x="5062" y="4466"/>
                </a:cubicBezTo>
                <a:cubicBezTo>
                  <a:pt x="5041" y="4462"/>
                  <a:pt x="5041" y="4462"/>
                  <a:pt x="5041" y="4462"/>
                </a:cubicBezTo>
                <a:cubicBezTo>
                  <a:pt x="5007" y="4467"/>
                  <a:pt x="5007" y="4467"/>
                  <a:pt x="5007" y="4467"/>
                </a:cubicBezTo>
                <a:cubicBezTo>
                  <a:pt x="4996" y="4457"/>
                  <a:pt x="4996" y="4457"/>
                  <a:pt x="4996" y="4457"/>
                </a:cubicBezTo>
                <a:cubicBezTo>
                  <a:pt x="4983" y="4456"/>
                  <a:pt x="4983" y="4456"/>
                  <a:pt x="4983" y="4456"/>
                </a:cubicBezTo>
                <a:cubicBezTo>
                  <a:pt x="4971" y="4441"/>
                  <a:pt x="4971" y="4441"/>
                  <a:pt x="4971" y="4441"/>
                </a:cubicBezTo>
                <a:cubicBezTo>
                  <a:pt x="4956" y="4440"/>
                  <a:pt x="4956" y="4440"/>
                  <a:pt x="4956" y="4440"/>
                </a:cubicBezTo>
                <a:cubicBezTo>
                  <a:pt x="4956" y="4440"/>
                  <a:pt x="4938" y="4420"/>
                  <a:pt x="4921" y="4399"/>
                </a:cubicBezTo>
                <a:cubicBezTo>
                  <a:pt x="4904" y="4378"/>
                  <a:pt x="4855" y="4347"/>
                  <a:pt x="4839" y="4346"/>
                </a:cubicBezTo>
                <a:cubicBezTo>
                  <a:pt x="4823" y="4345"/>
                  <a:pt x="4790" y="4347"/>
                  <a:pt x="4790" y="4347"/>
                </a:cubicBezTo>
                <a:cubicBezTo>
                  <a:pt x="4790" y="4357"/>
                  <a:pt x="4790" y="4357"/>
                  <a:pt x="4790" y="4357"/>
                </a:cubicBezTo>
                <a:cubicBezTo>
                  <a:pt x="4790" y="4357"/>
                  <a:pt x="4775" y="4347"/>
                  <a:pt x="4768" y="4344"/>
                </a:cubicBezTo>
                <a:cubicBezTo>
                  <a:pt x="4761" y="4341"/>
                  <a:pt x="4735" y="4340"/>
                  <a:pt x="4735" y="4340"/>
                </a:cubicBezTo>
                <a:cubicBezTo>
                  <a:pt x="4735" y="4340"/>
                  <a:pt x="4707" y="4323"/>
                  <a:pt x="4688" y="4320"/>
                </a:cubicBezTo>
                <a:cubicBezTo>
                  <a:pt x="4669" y="4317"/>
                  <a:pt x="4649" y="4350"/>
                  <a:pt x="4649" y="4350"/>
                </a:cubicBezTo>
                <a:cubicBezTo>
                  <a:pt x="4638" y="4337"/>
                  <a:pt x="4638" y="4337"/>
                  <a:pt x="4638" y="4337"/>
                </a:cubicBezTo>
                <a:cubicBezTo>
                  <a:pt x="4638" y="4359"/>
                  <a:pt x="4638" y="4359"/>
                  <a:pt x="4638" y="4359"/>
                </a:cubicBezTo>
                <a:cubicBezTo>
                  <a:pt x="4618" y="4374"/>
                  <a:pt x="4618" y="4374"/>
                  <a:pt x="4618" y="4374"/>
                </a:cubicBezTo>
                <a:cubicBezTo>
                  <a:pt x="4629" y="4330"/>
                  <a:pt x="4629" y="4330"/>
                  <a:pt x="4629" y="4330"/>
                </a:cubicBezTo>
                <a:cubicBezTo>
                  <a:pt x="4629" y="4330"/>
                  <a:pt x="4647" y="4320"/>
                  <a:pt x="4640" y="4310"/>
                </a:cubicBezTo>
                <a:cubicBezTo>
                  <a:pt x="4633" y="4300"/>
                  <a:pt x="4620" y="4319"/>
                  <a:pt x="4620" y="4319"/>
                </a:cubicBezTo>
                <a:cubicBezTo>
                  <a:pt x="4629" y="4297"/>
                  <a:pt x="4629" y="4297"/>
                  <a:pt x="4629" y="4297"/>
                </a:cubicBezTo>
                <a:cubicBezTo>
                  <a:pt x="4629" y="4297"/>
                  <a:pt x="4620" y="4296"/>
                  <a:pt x="4621" y="4289"/>
                </a:cubicBezTo>
                <a:cubicBezTo>
                  <a:pt x="4622" y="4282"/>
                  <a:pt x="4601" y="4273"/>
                  <a:pt x="4601" y="4273"/>
                </a:cubicBezTo>
                <a:cubicBezTo>
                  <a:pt x="4593" y="4285"/>
                  <a:pt x="4593" y="4285"/>
                  <a:pt x="4593" y="4285"/>
                </a:cubicBezTo>
                <a:cubicBezTo>
                  <a:pt x="4593" y="4285"/>
                  <a:pt x="4580" y="4268"/>
                  <a:pt x="4570" y="4258"/>
                </a:cubicBezTo>
                <a:cubicBezTo>
                  <a:pt x="4560" y="4248"/>
                  <a:pt x="4533" y="4250"/>
                  <a:pt x="4529" y="4246"/>
                </a:cubicBezTo>
                <a:cubicBezTo>
                  <a:pt x="4525" y="4242"/>
                  <a:pt x="4501" y="4224"/>
                  <a:pt x="4501" y="4224"/>
                </a:cubicBezTo>
                <a:cubicBezTo>
                  <a:pt x="4495" y="4232"/>
                  <a:pt x="4495" y="4232"/>
                  <a:pt x="4495" y="4232"/>
                </a:cubicBezTo>
                <a:cubicBezTo>
                  <a:pt x="4495" y="4232"/>
                  <a:pt x="4474" y="4231"/>
                  <a:pt x="4464" y="4230"/>
                </a:cubicBezTo>
                <a:cubicBezTo>
                  <a:pt x="4454" y="4229"/>
                  <a:pt x="4446" y="4264"/>
                  <a:pt x="4446" y="4264"/>
                </a:cubicBezTo>
                <a:cubicBezTo>
                  <a:pt x="4453" y="4276"/>
                  <a:pt x="4453" y="4276"/>
                  <a:pt x="4453" y="4276"/>
                </a:cubicBezTo>
                <a:cubicBezTo>
                  <a:pt x="4453" y="4276"/>
                  <a:pt x="4439" y="4277"/>
                  <a:pt x="4431" y="4277"/>
                </a:cubicBezTo>
                <a:cubicBezTo>
                  <a:pt x="4423" y="4277"/>
                  <a:pt x="4411" y="4299"/>
                  <a:pt x="4411" y="4299"/>
                </a:cubicBezTo>
                <a:cubicBezTo>
                  <a:pt x="4411" y="4299"/>
                  <a:pt x="4404" y="4332"/>
                  <a:pt x="4397" y="4331"/>
                </a:cubicBezTo>
                <a:cubicBezTo>
                  <a:pt x="4390" y="4330"/>
                  <a:pt x="4406" y="4305"/>
                  <a:pt x="4403" y="4294"/>
                </a:cubicBezTo>
                <a:cubicBezTo>
                  <a:pt x="4400" y="4283"/>
                  <a:pt x="4380" y="4304"/>
                  <a:pt x="4380" y="4304"/>
                </a:cubicBezTo>
                <a:cubicBezTo>
                  <a:pt x="4373" y="4298"/>
                  <a:pt x="4373" y="4298"/>
                  <a:pt x="4373" y="4298"/>
                </a:cubicBezTo>
                <a:cubicBezTo>
                  <a:pt x="4373" y="4298"/>
                  <a:pt x="4352" y="4303"/>
                  <a:pt x="4341" y="4296"/>
                </a:cubicBezTo>
                <a:cubicBezTo>
                  <a:pt x="4330" y="4289"/>
                  <a:pt x="4332" y="4279"/>
                  <a:pt x="4332" y="4266"/>
                </a:cubicBezTo>
                <a:cubicBezTo>
                  <a:pt x="4332" y="4253"/>
                  <a:pt x="4327" y="4245"/>
                  <a:pt x="4327" y="4245"/>
                </a:cubicBezTo>
                <a:cubicBezTo>
                  <a:pt x="4320" y="4238"/>
                  <a:pt x="4305" y="4264"/>
                  <a:pt x="4305" y="4264"/>
                </a:cubicBezTo>
                <a:cubicBezTo>
                  <a:pt x="4305" y="4264"/>
                  <a:pt x="4284" y="4279"/>
                  <a:pt x="4272" y="4281"/>
                </a:cubicBezTo>
                <a:cubicBezTo>
                  <a:pt x="4260" y="4283"/>
                  <a:pt x="4246" y="4276"/>
                  <a:pt x="4246" y="4276"/>
                </a:cubicBezTo>
                <a:cubicBezTo>
                  <a:pt x="4272" y="4268"/>
                  <a:pt x="4272" y="4268"/>
                  <a:pt x="4272" y="4268"/>
                </a:cubicBezTo>
                <a:cubicBezTo>
                  <a:pt x="4272" y="4268"/>
                  <a:pt x="4282" y="4256"/>
                  <a:pt x="4285" y="4251"/>
                </a:cubicBezTo>
                <a:cubicBezTo>
                  <a:pt x="4288" y="4246"/>
                  <a:pt x="4287" y="4234"/>
                  <a:pt x="4287" y="4234"/>
                </a:cubicBezTo>
                <a:cubicBezTo>
                  <a:pt x="4287" y="4234"/>
                  <a:pt x="4296" y="4228"/>
                  <a:pt x="4300" y="4216"/>
                </a:cubicBezTo>
                <a:cubicBezTo>
                  <a:pt x="4304" y="4204"/>
                  <a:pt x="4328" y="4185"/>
                  <a:pt x="4338" y="4178"/>
                </a:cubicBezTo>
                <a:cubicBezTo>
                  <a:pt x="4348" y="4171"/>
                  <a:pt x="4350" y="4162"/>
                  <a:pt x="4354" y="4153"/>
                </a:cubicBezTo>
                <a:cubicBezTo>
                  <a:pt x="4358" y="4144"/>
                  <a:pt x="4379" y="4131"/>
                  <a:pt x="4379" y="4131"/>
                </a:cubicBezTo>
                <a:cubicBezTo>
                  <a:pt x="4366" y="4129"/>
                  <a:pt x="4366" y="4129"/>
                  <a:pt x="4366" y="4129"/>
                </a:cubicBezTo>
                <a:cubicBezTo>
                  <a:pt x="4366" y="4129"/>
                  <a:pt x="4378" y="4123"/>
                  <a:pt x="4378" y="4107"/>
                </a:cubicBezTo>
                <a:cubicBezTo>
                  <a:pt x="4378" y="4091"/>
                  <a:pt x="4351" y="4100"/>
                  <a:pt x="4341" y="4089"/>
                </a:cubicBezTo>
                <a:cubicBezTo>
                  <a:pt x="4331" y="4078"/>
                  <a:pt x="4331" y="4055"/>
                  <a:pt x="4327" y="4018"/>
                </a:cubicBezTo>
                <a:cubicBezTo>
                  <a:pt x="4323" y="3981"/>
                  <a:pt x="4315" y="3963"/>
                  <a:pt x="4306" y="3960"/>
                </a:cubicBezTo>
                <a:cubicBezTo>
                  <a:pt x="4297" y="3957"/>
                  <a:pt x="4303" y="3976"/>
                  <a:pt x="4303" y="3980"/>
                </a:cubicBezTo>
                <a:cubicBezTo>
                  <a:pt x="4303" y="3984"/>
                  <a:pt x="4293" y="3979"/>
                  <a:pt x="4291" y="3974"/>
                </a:cubicBezTo>
                <a:cubicBezTo>
                  <a:pt x="4289" y="3969"/>
                  <a:pt x="4277" y="3937"/>
                  <a:pt x="4277" y="3937"/>
                </a:cubicBezTo>
                <a:cubicBezTo>
                  <a:pt x="4258" y="3930"/>
                  <a:pt x="4258" y="3930"/>
                  <a:pt x="4258" y="3930"/>
                </a:cubicBezTo>
                <a:cubicBezTo>
                  <a:pt x="4242" y="3897"/>
                  <a:pt x="4242" y="3897"/>
                  <a:pt x="4242" y="3897"/>
                </a:cubicBezTo>
                <a:cubicBezTo>
                  <a:pt x="4219" y="3897"/>
                  <a:pt x="4219" y="3897"/>
                  <a:pt x="4219" y="3897"/>
                </a:cubicBezTo>
                <a:cubicBezTo>
                  <a:pt x="4219" y="3897"/>
                  <a:pt x="4196" y="3889"/>
                  <a:pt x="4188" y="3881"/>
                </a:cubicBezTo>
                <a:cubicBezTo>
                  <a:pt x="4187" y="3880"/>
                  <a:pt x="4186" y="3880"/>
                  <a:pt x="4186" y="3879"/>
                </a:cubicBezTo>
                <a:cubicBezTo>
                  <a:pt x="4179" y="3870"/>
                  <a:pt x="4132" y="3870"/>
                  <a:pt x="4132" y="3870"/>
                </a:cubicBezTo>
                <a:cubicBezTo>
                  <a:pt x="4128" y="3879"/>
                  <a:pt x="4128" y="3879"/>
                  <a:pt x="4128" y="3879"/>
                </a:cubicBezTo>
                <a:cubicBezTo>
                  <a:pt x="4098" y="3874"/>
                  <a:pt x="4098" y="3874"/>
                  <a:pt x="4098" y="3874"/>
                </a:cubicBezTo>
                <a:cubicBezTo>
                  <a:pt x="4097" y="3885"/>
                  <a:pt x="4097" y="3885"/>
                  <a:pt x="4097" y="3885"/>
                </a:cubicBezTo>
                <a:cubicBezTo>
                  <a:pt x="4058" y="3871"/>
                  <a:pt x="4058" y="3871"/>
                  <a:pt x="4058" y="3871"/>
                </a:cubicBezTo>
                <a:cubicBezTo>
                  <a:pt x="4039" y="3877"/>
                  <a:pt x="4039" y="3877"/>
                  <a:pt x="4039" y="3877"/>
                </a:cubicBezTo>
                <a:cubicBezTo>
                  <a:pt x="4039" y="3877"/>
                  <a:pt x="4039" y="3866"/>
                  <a:pt x="4036" y="3858"/>
                </a:cubicBezTo>
                <a:cubicBezTo>
                  <a:pt x="4033" y="3850"/>
                  <a:pt x="4018" y="3858"/>
                  <a:pt x="4018" y="3858"/>
                </a:cubicBezTo>
                <a:cubicBezTo>
                  <a:pt x="4016" y="3843"/>
                  <a:pt x="4016" y="3843"/>
                  <a:pt x="4016" y="3843"/>
                </a:cubicBezTo>
                <a:cubicBezTo>
                  <a:pt x="4016" y="3843"/>
                  <a:pt x="3999" y="3828"/>
                  <a:pt x="3986" y="3826"/>
                </a:cubicBezTo>
                <a:cubicBezTo>
                  <a:pt x="3973" y="3824"/>
                  <a:pt x="3966" y="3850"/>
                  <a:pt x="3966" y="3850"/>
                </a:cubicBezTo>
                <a:cubicBezTo>
                  <a:pt x="3966" y="3850"/>
                  <a:pt x="3975" y="3810"/>
                  <a:pt x="3977" y="3802"/>
                </a:cubicBezTo>
                <a:cubicBezTo>
                  <a:pt x="3979" y="3794"/>
                  <a:pt x="3965" y="3771"/>
                  <a:pt x="3959" y="3763"/>
                </a:cubicBezTo>
                <a:cubicBezTo>
                  <a:pt x="3953" y="3755"/>
                  <a:pt x="3916" y="3741"/>
                  <a:pt x="3916" y="3741"/>
                </a:cubicBezTo>
                <a:cubicBezTo>
                  <a:pt x="3916" y="3741"/>
                  <a:pt x="3908" y="3731"/>
                  <a:pt x="3904" y="3725"/>
                </a:cubicBezTo>
                <a:cubicBezTo>
                  <a:pt x="3900" y="3719"/>
                  <a:pt x="3885" y="3736"/>
                  <a:pt x="3885" y="3736"/>
                </a:cubicBezTo>
                <a:cubicBezTo>
                  <a:pt x="3885" y="3736"/>
                  <a:pt x="3875" y="3732"/>
                  <a:pt x="3869" y="3729"/>
                </a:cubicBezTo>
                <a:cubicBezTo>
                  <a:pt x="3863" y="3726"/>
                  <a:pt x="3849" y="3743"/>
                  <a:pt x="3849" y="3743"/>
                </a:cubicBezTo>
                <a:cubicBezTo>
                  <a:pt x="3827" y="3729"/>
                  <a:pt x="3827" y="3729"/>
                  <a:pt x="3827" y="3729"/>
                </a:cubicBezTo>
                <a:cubicBezTo>
                  <a:pt x="3827" y="3729"/>
                  <a:pt x="3853" y="3729"/>
                  <a:pt x="3857" y="3722"/>
                </a:cubicBezTo>
                <a:cubicBezTo>
                  <a:pt x="3861" y="3715"/>
                  <a:pt x="3860" y="3702"/>
                  <a:pt x="3860" y="3702"/>
                </a:cubicBezTo>
                <a:cubicBezTo>
                  <a:pt x="3860" y="3702"/>
                  <a:pt x="3870" y="3701"/>
                  <a:pt x="3872" y="3688"/>
                </a:cubicBezTo>
                <a:cubicBezTo>
                  <a:pt x="3874" y="3675"/>
                  <a:pt x="3846" y="3678"/>
                  <a:pt x="3846" y="3678"/>
                </a:cubicBezTo>
                <a:cubicBezTo>
                  <a:pt x="3846" y="3678"/>
                  <a:pt x="3842" y="3664"/>
                  <a:pt x="3835" y="3663"/>
                </a:cubicBezTo>
                <a:cubicBezTo>
                  <a:pt x="3828" y="3662"/>
                  <a:pt x="3830" y="3678"/>
                  <a:pt x="3830" y="3678"/>
                </a:cubicBezTo>
                <a:cubicBezTo>
                  <a:pt x="3830" y="3678"/>
                  <a:pt x="3824" y="3669"/>
                  <a:pt x="3824" y="3663"/>
                </a:cubicBezTo>
                <a:cubicBezTo>
                  <a:pt x="3824" y="3657"/>
                  <a:pt x="3810" y="3658"/>
                  <a:pt x="3810" y="3658"/>
                </a:cubicBezTo>
                <a:cubicBezTo>
                  <a:pt x="3806" y="3678"/>
                  <a:pt x="3806" y="3678"/>
                  <a:pt x="3806" y="3678"/>
                </a:cubicBezTo>
                <a:cubicBezTo>
                  <a:pt x="3806" y="3678"/>
                  <a:pt x="3798" y="3670"/>
                  <a:pt x="3796" y="3664"/>
                </a:cubicBezTo>
                <a:cubicBezTo>
                  <a:pt x="3794" y="3658"/>
                  <a:pt x="3793" y="3644"/>
                  <a:pt x="3793" y="3644"/>
                </a:cubicBezTo>
                <a:cubicBezTo>
                  <a:pt x="3772" y="3652"/>
                  <a:pt x="3772" y="3652"/>
                  <a:pt x="3772" y="3652"/>
                </a:cubicBezTo>
                <a:cubicBezTo>
                  <a:pt x="3772" y="3652"/>
                  <a:pt x="3788" y="3643"/>
                  <a:pt x="3788" y="3638"/>
                </a:cubicBezTo>
                <a:cubicBezTo>
                  <a:pt x="3788" y="3633"/>
                  <a:pt x="3775" y="3633"/>
                  <a:pt x="3775" y="3628"/>
                </a:cubicBezTo>
                <a:cubicBezTo>
                  <a:pt x="3775" y="3623"/>
                  <a:pt x="3817" y="3623"/>
                  <a:pt x="3821" y="3617"/>
                </a:cubicBezTo>
                <a:cubicBezTo>
                  <a:pt x="3825" y="3611"/>
                  <a:pt x="3731" y="3619"/>
                  <a:pt x="3731" y="3619"/>
                </a:cubicBezTo>
                <a:cubicBezTo>
                  <a:pt x="3740" y="3629"/>
                  <a:pt x="3740" y="3629"/>
                  <a:pt x="3740" y="3629"/>
                </a:cubicBezTo>
                <a:cubicBezTo>
                  <a:pt x="3740" y="3629"/>
                  <a:pt x="3718" y="3631"/>
                  <a:pt x="3709" y="3634"/>
                </a:cubicBezTo>
                <a:cubicBezTo>
                  <a:pt x="3700" y="3637"/>
                  <a:pt x="3676" y="3654"/>
                  <a:pt x="3676" y="3654"/>
                </a:cubicBezTo>
                <a:cubicBezTo>
                  <a:pt x="3652" y="3655"/>
                  <a:pt x="3620" y="3623"/>
                  <a:pt x="3620" y="3623"/>
                </a:cubicBezTo>
                <a:cubicBezTo>
                  <a:pt x="3620" y="3623"/>
                  <a:pt x="3539" y="3628"/>
                  <a:pt x="3529" y="3627"/>
                </a:cubicBezTo>
                <a:cubicBezTo>
                  <a:pt x="3519" y="3626"/>
                  <a:pt x="3516" y="3617"/>
                  <a:pt x="3516" y="3603"/>
                </a:cubicBezTo>
                <a:cubicBezTo>
                  <a:pt x="3516" y="3589"/>
                  <a:pt x="3510" y="3579"/>
                  <a:pt x="3484" y="3574"/>
                </a:cubicBezTo>
                <a:cubicBezTo>
                  <a:pt x="3458" y="3569"/>
                  <a:pt x="3421" y="3591"/>
                  <a:pt x="3421" y="3591"/>
                </a:cubicBezTo>
                <a:cubicBezTo>
                  <a:pt x="3421" y="3591"/>
                  <a:pt x="3394" y="3597"/>
                  <a:pt x="3378" y="3611"/>
                </a:cubicBezTo>
                <a:cubicBezTo>
                  <a:pt x="3362" y="3625"/>
                  <a:pt x="3385" y="3651"/>
                  <a:pt x="3387" y="3671"/>
                </a:cubicBezTo>
                <a:cubicBezTo>
                  <a:pt x="3389" y="3691"/>
                  <a:pt x="3362" y="3707"/>
                  <a:pt x="3362" y="3707"/>
                </a:cubicBezTo>
                <a:cubicBezTo>
                  <a:pt x="3363" y="3689"/>
                  <a:pt x="3363" y="3689"/>
                  <a:pt x="3363" y="3689"/>
                </a:cubicBezTo>
                <a:cubicBezTo>
                  <a:pt x="3363" y="3689"/>
                  <a:pt x="3345" y="3684"/>
                  <a:pt x="3339" y="3674"/>
                </a:cubicBezTo>
                <a:cubicBezTo>
                  <a:pt x="3333" y="3664"/>
                  <a:pt x="3349" y="3646"/>
                  <a:pt x="3356" y="3637"/>
                </a:cubicBezTo>
                <a:cubicBezTo>
                  <a:pt x="3363" y="3628"/>
                  <a:pt x="3362" y="3612"/>
                  <a:pt x="3362" y="3600"/>
                </a:cubicBezTo>
                <a:cubicBezTo>
                  <a:pt x="3362" y="3588"/>
                  <a:pt x="3351" y="3573"/>
                  <a:pt x="3351" y="3573"/>
                </a:cubicBezTo>
                <a:cubicBezTo>
                  <a:pt x="3351" y="3573"/>
                  <a:pt x="3368" y="3563"/>
                  <a:pt x="3373" y="3562"/>
                </a:cubicBezTo>
                <a:cubicBezTo>
                  <a:pt x="3378" y="3561"/>
                  <a:pt x="3393" y="3557"/>
                  <a:pt x="3394" y="3536"/>
                </a:cubicBezTo>
                <a:cubicBezTo>
                  <a:pt x="3395" y="3515"/>
                  <a:pt x="3353" y="3531"/>
                  <a:pt x="3347" y="3532"/>
                </a:cubicBezTo>
                <a:cubicBezTo>
                  <a:pt x="3341" y="3533"/>
                  <a:pt x="3341" y="3553"/>
                  <a:pt x="3334" y="3560"/>
                </a:cubicBezTo>
                <a:cubicBezTo>
                  <a:pt x="3327" y="3567"/>
                  <a:pt x="3316" y="3560"/>
                  <a:pt x="3309" y="3561"/>
                </a:cubicBezTo>
                <a:cubicBezTo>
                  <a:pt x="3302" y="3562"/>
                  <a:pt x="3288" y="3585"/>
                  <a:pt x="3288" y="3585"/>
                </a:cubicBezTo>
                <a:cubicBezTo>
                  <a:pt x="3263" y="3589"/>
                  <a:pt x="3263" y="3589"/>
                  <a:pt x="3263" y="3589"/>
                </a:cubicBezTo>
                <a:cubicBezTo>
                  <a:pt x="3263" y="3589"/>
                  <a:pt x="3257" y="3580"/>
                  <a:pt x="3250" y="3584"/>
                </a:cubicBezTo>
                <a:cubicBezTo>
                  <a:pt x="3243" y="3589"/>
                  <a:pt x="3243" y="3601"/>
                  <a:pt x="3243" y="3601"/>
                </a:cubicBezTo>
                <a:cubicBezTo>
                  <a:pt x="3243" y="3601"/>
                  <a:pt x="3238" y="3615"/>
                  <a:pt x="3231" y="3616"/>
                </a:cubicBezTo>
                <a:cubicBezTo>
                  <a:pt x="3224" y="3618"/>
                  <a:pt x="3232" y="3607"/>
                  <a:pt x="3232" y="3607"/>
                </a:cubicBezTo>
                <a:cubicBezTo>
                  <a:pt x="3232" y="3607"/>
                  <a:pt x="3226" y="3602"/>
                  <a:pt x="3222" y="3602"/>
                </a:cubicBezTo>
                <a:cubicBezTo>
                  <a:pt x="3219" y="3602"/>
                  <a:pt x="3204" y="3606"/>
                  <a:pt x="3199" y="3609"/>
                </a:cubicBezTo>
                <a:cubicBezTo>
                  <a:pt x="3194" y="3613"/>
                  <a:pt x="3179" y="3627"/>
                  <a:pt x="3175" y="3634"/>
                </a:cubicBezTo>
                <a:cubicBezTo>
                  <a:pt x="3172" y="3641"/>
                  <a:pt x="3180" y="3650"/>
                  <a:pt x="3180" y="3650"/>
                </a:cubicBezTo>
                <a:cubicBezTo>
                  <a:pt x="3169" y="3670"/>
                  <a:pt x="3169" y="3670"/>
                  <a:pt x="3169" y="3670"/>
                </a:cubicBezTo>
                <a:cubicBezTo>
                  <a:pt x="3176" y="3686"/>
                  <a:pt x="3176" y="3686"/>
                  <a:pt x="3176" y="3686"/>
                </a:cubicBezTo>
                <a:cubicBezTo>
                  <a:pt x="3176" y="3686"/>
                  <a:pt x="3160" y="3687"/>
                  <a:pt x="3154" y="3690"/>
                </a:cubicBezTo>
                <a:cubicBezTo>
                  <a:pt x="3148" y="3692"/>
                  <a:pt x="3142" y="3706"/>
                  <a:pt x="3139" y="3713"/>
                </a:cubicBezTo>
                <a:cubicBezTo>
                  <a:pt x="3135" y="3720"/>
                  <a:pt x="3121" y="3722"/>
                  <a:pt x="3121" y="3722"/>
                </a:cubicBezTo>
                <a:cubicBezTo>
                  <a:pt x="3107" y="3728"/>
                  <a:pt x="3107" y="3728"/>
                  <a:pt x="3107" y="3728"/>
                </a:cubicBezTo>
                <a:cubicBezTo>
                  <a:pt x="3115" y="3744"/>
                  <a:pt x="3115" y="3744"/>
                  <a:pt x="3115" y="3744"/>
                </a:cubicBezTo>
                <a:cubicBezTo>
                  <a:pt x="3115" y="3744"/>
                  <a:pt x="3118" y="3767"/>
                  <a:pt x="3110" y="3769"/>
                </a:cubicBezTo>
                <a:cubicBezTo>
                  <a:pt x="3102" y="3771"/>
                  <a:pt x="3108" y="3761"/>
                  <a:pt x="3107" y="3751"/>
                </a:cubicBezTo>
                <a:cubicBezTo>
                  <a:pt x="3105" y="3742"/>
                  <a:pt x="3085" y="3730"/>
                  <a:pt x="3085" y="3730"/>
                </a:cubicBezTo>
                <a:cubicBezTo>
                  <a:pt x="3085" y="3730"/>
                  <a:pt x="3085" y="3730"/>
                  <a:pt x="3085" y="3731"/>
                </a:cubicBezTo>
                <a:cubicBezTo>
                  <a:pt x="3085" y="3731"/>
                  <a:pt x="3085" y="3731"/>
                  <a:pt x="3085" y="3731"/>
                </a:cubicBezTo>
                <a:cubicBezTo>
                  <a:pt x="3070" y="3719"/>
                  <a:pt x="3070" y="3719"/>
                  <a:pt x="3070" y="3719"/>
                </a:cubicBezTo>
                <a:cubicBezTo>
                  <a:pt x="3070" y="3719"/>
                  <a:pt x="3066" y="3697"/>
                  <a:pt x="3051" y="3691"/>
                </a:cubicBezTo>
                <a:cubicBezTo>
                  <a:pt x="3036" y="3685"/>
                  <a:pt x="3011" y="3686"/>
                  <a:pt x="3011" y="3686"/>
                </a:cubicBezTo>
                <a:cubicBezTo>
                  <a:pt x="3010" y="3677"/>
                  <a:pt x="3010" y="3677"/>
                  <a:pt x="3010" y="3677"/>
                </a:cubicBezTo>
                <a:cubicBezTo>
                  <a:pt x="3010" y="3677"/>
                  <a:pt x="2984" y="3673"/>
                  <a:pt x="2978" y="3680"/>
                </a:cubicBezTo>
                <a:cubicBezTo>
                  <a:pt x="2972" y="3687"/>
                  <a:pt x="2959" y="3700"/>
                  <a:pt x="2959" y="3700"/>
                </a:cubicBezTo>
                <a:cubicBezTo>
                  <a:pt x="2959" y="3700"/>
                  <a:pt x="2949" y="3691"/>
                  <a:pt x="2941" y="3698"/>
                </a:cubicBezTo>
                <a:cubicBezTo>
                  <a:pt x="2933" y="3705"/>
                  <a:pt x="2919" y="3723"/>
                  <a:pt x="2909" y="3723"/>
                </a:cubicBezTo>
                <a:cubicBezTo>
                  <a:pt x="2899" y="3723"/>
                  <a:pt x="2890" y="3716"/>
                  <a:pt x="2890" y="3716"/>
                </a:cubicBezTo>
                <a:cubicBezTo>
                  <a:pt x="2880" y="3705"/>
                  <a:pt x="2880" y="3705"/>
                  <a:pt x="2880" y="3705"/>
                </a:cubicBezTo>
                <a:cubicBezTo>
                  <a:pt x="2874" y="3712"/>
                  <a:pt x="2874" y="3712"/>
                  <a:pt x="2874" y="3712"/>
                </a:cubicBezTo>
                <a:cubicBezTo>
                  <a:pt x="2874" y="3712"/>
                  <a:pt x="2860" y="3717"/>
                  <a:pt x="2855" y="3708"/>
                </a:cubicBezTo>
                <a:cubicBezTo>
                  <a:pt x="2850" y="3699"/>
                  <a:pt x="2857" y="3689"/>
                  <a:pt x="2850" y="3683"/>
                </a:cubicBezTo>
                <a:cubicBezTo>
                  <a:pt x="2848" y="3681"/>
                  <a:pt x="2845" y="3680"/>
                  <a:pt x="2842" y="3678"/>
                </a:cubicBezTo>
                <a:cubicBezTo>
                  <a:pt x="2834" y="3673"/>
                  <a:pt x="2823" y="3666"/>
                  <a:pt x="2820" y="3657"/>
                </a:cubicBezTo>
                <a:cubicBezTo>
                  <a:pt x="2816" y="3644"/>
                  <a:pt x="2804" y="3630"/>
                  <a:pt x="2804" y="3630"/>
                </a:cubicBezTo>
                <a:cubicBezTo>
                  <a:pt x="2802" y="3615"/>
                  <a:pt x="2802" y="3615"/>
                  <a:pt x="2802" y="3615"/>
                </a:cubicBezTo>
                <a:cubicBezTo>
                  <a:pt x="2802" y="3615"/>
                  <a:pt x="2802" y="3615"/>
                  <a:pt x="2802" y="3614"/>
                </a:cubicBezTo>
                <a:cubicBezTo>
                  <a:pt x="2802" y="3614"/>
                  <a:pt x="2802" y="3614"/>
                  <a:pt x="2802" y="3614"/>
                </a:cubicBezTo>
                <a:cubicBezTo>
                  <a:pt x="2799" y="3612"/>
                  <a:pt x="2789" y="3599"/>
                  <a:pt x="2789" y="3586"/>
                </a:cubicBezTo>
                <a:cubicBezTo>
                  <a:pt x="2789" y="3571"/>
                  <a:pt x="2801" y="3575"/>
                  <a:pt x="2801" y="3566"/>
                </a:cubicBezTo>
                <a:cubicBezTo>
                  <a:pt x="2801" y="3557"/>
                  <a:pt x="2796" y="3545"/>
                  <a:pt x="2796" y="3545"/>
                </a:cubicBezTo>
                <a:cubicBezTo>
                  <a:pt x="2800" y="3513"/>
                  <a:pt x="2800" y="3513"/>
                  <a:pt x="2800" y="3513"/>
                </a:cubicBezTo>
                <a:cubicBezTo>
                  <a:pt x="2810" y="3525"/>
                  <a:pt x="2810" y="3525"/>
                  <a:pt x="2810" y="3525"/>
                </a:cubicBezTo>
                <a:cubicBezTo>
                  <a:pt x="2813" y="3468"/>
                  <a:pt x="2813" y="3468"/>
                  <a:pt x="2813" y="3468"/>
                </a:cubicBezTo>
                <a:cubicBezTo>
                  <a:pt x="2813" y="3468"/>
                  <a:pt x="2819" y="3447"/>
                  <a:pt x="2828" y="3438"/>
                </a:cubicBezTo>
                <a:cubicBezTo>
                  <a:pt x="2837" y="3429"/>
                  <a:pt x="2839" y="3414"/>
                  <a:pt x="2837" y="3409"/>
                </a:cubicBezTo>
                <a:cubicBezTo>
                  <a:pt x="2835" y="3404"/>
                  <a:pt x="2829" y="3399"/>
                  <a:pt x="2830" y="3395"/>
                </a:cubicBezTo>
                <a:cubicBezTo>
                  <a:pt x="2831" y="3391"/>
                  <a:pt x="2845" y="3392"/>
                  <a:pt x="2843" y="3385"/>
                </a:cubicBezTo>
                <a:cubicBezTo>
                  <a:pt x="2841" y="3378"/>
                  <a:pt x="2832" y="3371"/>
                  <a:pt x="2832" y="3371"/>
                </a:cubicBezTo>
                <a:cubicBezTo>
                  <a:pt x="2817" y="3365"/>
                  <a:pt x="2817" y="3365"/>
                  <a:pt x="2817" y="3365"/>
                </a:cubicBezTo>
                <a:cubicBezTo>
                  <a:pt x="2817" y="3365"/>
                  <a:pt x="2806" y="3357"/>
                  <a:pt x="2797" y="3348"/>
                </a:cubicBezTo>
                <a:cubicBezTo>
                  <a:pt x="2788" y="3339"/>
                  <a:pt x="2779" y="3343"/>
                  <a:pt x="2779" y="3343"/>
                </a:cubicBezTo>
                <a:cubicBezTo>
                  <a:pt x="2779" y="3343"/>
                  <a:pt x="2775" y="3331"/>
                  <a:pt x="2763" y="3331"/>
                </a:cubicBezTo>
                <a:cubicBezTo>
                  <a:pt x="2751" y="3331"/>
                  <a:pt x="2741" y="3339"/>
                  <a:pt x="2741" y="3339"/>
                </a:cubicBezTo>
                <a:cubicBezTo>
                  <a:pt x="2741" y="3339"/>
                  <a:pt x="2727" y="3330"/>
                  <a:pt x="2720" y="3330"/>
                </a:cubicBezTo>
                <a:cubicBezTo>
                  <a:pt x="2713" y="3330"/>
                  <a:pt x="2697" y="3348"/>
                  <a:pt x="2697" y="3348"/>
                </a:cubicBezTo>
                <a:cubicBezTo>
                  <a:pt x="2674" y="3347"/>
                  <a:pt x="2674" y="3347"/>
                  <a:pt x="2674" y="3347"/>
                </a:cubicBezTo>
                <a:cubicBezTo>
                  <a:pt x="2674" y="3347"/>
                  <a:pt x="2661" y="3341"/>
                  <a:pt x="2658" y="3341"/>
                </a:cubicBezTo>
                <a:cubicBezTo>
                  <a:pt x="2655" y="3341"/>
                  <a:pt x="2638" y="3346"/>
                  <a:pt x="2638" y="3346"/>
                </a:cubicBezTo>
                <a:cubicBezTo>
                  <a:pt x="2638" y="3346"/>
                  <a:pt x="2633" y="3332"/>
                  <a:pt x="2630" y="3332"/>
                </a:cubicBezTo>
                <a:cubicBezTo>
                  <a:pt x="2627" y="3332"/>
                  <a:pt x="2608" y="3345"/>
                  <a:pt x="2608" y="3345"/>
                </a:cubicBezTo>
                <a:cubicBezTo>
                  <a:pt x="2599" y="3336"/>
                  <a:pt x="2599" y="3336"/>
                  <a:pt x="2599" y="3336"/>
                </a:cubicBezTo>
                <a:cubicBezTo>
                  <a:pt x="2588" y="3343"/>
                  <a:pt x="2588" y="3343"/>
                  <a:pt x="2588" y="3343"/>
                </a:cubicBezTo>
                <a:cubicBezTo>
                  <a:pt x="2579" y="3338"/>
                  <a:pt x="2579" y="3338"/>
                  <a:pt x="2579" y="3338"/>
                </a:cubicBezTo>
                <a:cubicBezTo>
                  <a:pt x="2589" y="3312"/>
                  <a:pt x="2589" y="3312"/>
                  <a:pt x="2589" y="3312"/>
                </a:cubicBezTo>
                <a:cubicBezTo>
                  <a:pt x="2600" y="3316"/>
                  <a:pt x="2600" y="3316"/>
                  <a:pt x="2600" y="3316"/>
                </a:cubicBezTo>
                <a:cubicBezTo>
                  <a:pt x="2600" y="3316"/>
                  <a:pt x="2616" y="3302"/>
                  <a:pt x="2616" y="3291"/>
                </a:cubicBezTo>
                <a:cubicBezTo>
                  <a:pt x="2616" y="3280"/>
                  <a:pt x="2612" y="3268"/>
                  <a:pt x="2616" y="3258"/>
                </a:cubicBezTo>
                <a:cubicBezTo>
                  <a:pt x="2620" y="3248"/>
                  <a:pt x="2633" y="3225"/>
                  <a:pt x="2633" y="3220"/>
                </a:cubicBezTo>
                <a:cubicBezTo>
                  <a:pt x="2633" y="3215"/>
                  <a:pt x="2615" y="3209"/>
                  <a:pt x="2615" y="3209"/>
                </a:cubicBezTo>
                <a:cubicBezTo>
                  <a:pt x="2626" y="3199"/>
                  <a:pt x="2626" y="3199"/>
                  <a:pt x="2626" y="3199"/>
                </a:cubicBezTo>
                <a:cubicBezTo>
                  <a:pt x="2640" y="3183"/>
                  <a:pt x="2640" y="3183"/>
                  <a:pt x="2640" y="3183"/>
                </a:cubicBezTo>
                <a:cubicBezTo>
                  <a:pt x="2640" y="3183"/>
                  <a:pt x="2634" y="3202"/>
                  <a:pt x="2638" y="3205"/>
                </a:cubicBezTo>
                <a:cubicBezTo>
                  <a:pt x="2642" y="3208"/>
                  <a:pt x="2649" y="3208"/>
                  <a:pt x="2649" y="3208"/>
                </a:cubicBezTo>
                <a:cubicBezTo>
                  <a:pt x="2664" y="3163"/>
                  <a:pt x="2664" y="3163"/>
                  <a:pt x="2664" y="3163"/>
                </a:cubicBezTo>
                <a:cubicBezTo>
                  <a:pt x="2658" y="3155"/>
                  <a:pt x="2658" y="3155"/>
                  <a:pt x="2658" y="3155"/>
                </a:cubicBezTo>
                <a:cubicBezTo>
                  <a:pt x="2671" y="3151"/>
                  <a:pt x="2671" y="3151"/>
                  <a:pt x="2671" y="3151"/>
                </a:cubicBezTo>
                <a:cubicBezTo>
                  <a:pt x="2672" y="3143"/>
                  <a:pt x="2672" y="3143"/>
                  <a:pt x="2672" y="3143"/>
                </a:cubicBezTo>
                <a:cubicBezTo>
                  <a:pt x="2660" y="3139"/>
                  <a:pt x="2660" y="3139"/>
                  <a:pt x="2660" y="3139"/>
                </a:cubicBezTo>
                <a:cubicBezTo>
                  <a:pt x="2672" y="3126"/>
                  <a:pt x="2672" y="3126"/>
                  <a:pt x="2672" y="3126"/>
                </a:cubicBezTo>
                <a:cubicBezTo>
                  <a:pt x="2676" y="3110"/>
                  <a:pt x="2676" y="3110"/>
                  <a:pt x="2676" y="3110"/>
                </a:cubicBezTo>
                <a:cubicBezTo>
                  <a:pt x="2676" y="3110"/>
                  <a:pt x="2706" y="3079"/>
                  <a:pt x="2710" y="3070"/>
                </a:cubicBezTo>
                <a:cubicBezTo>
                  <a:pt x="2714" y="3061"/>
                  <a:pt x="2723" y="3038"/>
                  <a:pt x="2712" y="3035"/>
                </a:cubicBezTo>
                <a:cubicBezTo>
                  <a:pt x="2701" y="3032"/>
                  <a:pt x="2679" y="3039"/>
                  <a:pt x="2679" y="3039"/>
                </a:cubicBezTo>
                <a:cubicBezTo>
                  <a:pt x="2679" y="3039"/>
                  <a:pt x="2655" y="3032"/>
                  <a:pt x="2648" y="3032"/>
                </a:cubicBezTo>
                <a:cubicBezTo>
                  <a:pt x="2641" y="3032"/>
                  <a:pt x="2613" y="3040"/>
                  <a:pt x="2599" y="3044"/>
                </a:cubicBezTo>
                <a:cubicBezTo>
                  <a:pt x="2585" y="3048"/>
                  <a:pt x="2560" y="3044"/>
                  <a:pt x="2554" y="3050"/>
                </a:cubicBezTo>
                <a:cubicBezTo>
                  <a:pt x="2548" y="3056"/>
                  <a:pt x="2537" y="3077"/>
                  <a:pt x="2536" y="3093"/>
                </a:cubicBezTo>
                <a:cubicBezTo>
                  <a:pt x="2535" y="3109"/>
                  <a:pt x="2535" y="3124"/>
                  <a:pt x="2535" y="3124"/>
                </a:cubicBezTo>
                <a:cubicBezTo>
                  <a:pt x="2525" y="3128"/>
                  <a:pt x="2525" y="3128"/>
                  <a:pt x="2525" y="3128"/>
                </a:cubicBezTo>
                <a:cubicBezTo>
                  <a:pt x="2525" y="3128"/>
                  <a:pt x="2525" y="3148"/>
                  <a:pt x="2519" y="3154"/>
                </a:cubicBezTo>
                <a:cubicBezTo>
                  <a:pt x="2513" y="3160"/>
                  <a:pt x="2492" y="3166"/>
                  <a:pt x="2487" y="3175"/>
                </a:cubicBezTo>
                <a:cubicBezTo>
                  <a:pt x="2482" y="3184"/>
                  <a:pt x="2485" y="3203"/>
                  <a:pt x="2472" y="3204"/>
                </a:cubicBezTo>
                <a:cubicBezTo>
                  <a:pt x="2459" y="3205"/>
                  <a:pt x="2466" y="3187"/>
                  <a:pt x="2450" y="3187"/>
                </a:cubicBezTo>
                <a:cubicBezTo>
                  <a:pt x="2434" y="3187"/>
                  <a:pt x="2408" y="3199"/>
                  <a:pt x="2388" y="3199"/>
                </a:cubicBezTo>
                <a:cubicBezTo>
                  <a:pt x="2368" y="3199"/>
                  <a:pt x="2340" y="3222"/>
                  <a:pt x="2331" y="3218"/>
                </a:cubicBezTo>
                <a:cubicBezTo>
                  <a:pt x="2322" y="3214"/>
                  <a:pt x="2323" y="3193"/>
                  <a:pt x="2312" y="3191"/>
                </a:cubicBezTo>
                <a:cubicBezTo>
                  <a:pt x="2301" y="3189"/>
                  <a:pt x="2273" y="3186"/>
                  <a:pt x="2273" y="3186"/>
                </a:cubicBezTo>
                <a:cubicBezTo>
                  <a:pt x="2273" y="3186"/>
                  <a:pt x="2271" y="3169"/>
                  <a:pt x="2266" y="3162"/>
                </a:cubicBezTo>
                <a:cubicBezTo>
                  <a:pt x="2261" y="3155"/>
                  <a:pt x="2253" y="3146"/>
                  <a:pt x="2253" y="3146"/>
                </a:cubicBezTo>
                <a:cubicBezTo>
                  <a:pt x="2253" y="3123"/>
                  <a:pt x="2253" y="3123"/>
                  <a:pt x="2253" y="3123"/>
                </a:cubicBezTo>
                <a:cubicBezTo>
                  <a:pt x="2227" y="3082"/>
                  <a:pt x="2227" y="3082"/>
                  <a:pt x="2227" y="3082"/>
                </a:cubicBezTo>
                <a:cubicBezTo>
                  <a:pt x="2226" y="3054"/>
                  <a:pt x="2226" y="3054"/>
                  <a:pt x="2226" y="3054"/>
                </a:cubicBezTo>
                <a:cubicBezTo>
                  <a:pt x="2215" y="3034"/>
                  <a:pt x="2215" y="3034"/>
                  <a:pt x="2215" y="3034"/>
                </a:cubicBezTo>
                <a:cubicBezTo>
                  <a:pt x="2212" y="2977"/>
                  <a:pt x="2212" y="2977"/>
                  <a:pt x="2212" y="2977"/>
                </a:cubicBezTo>
                <a:cubicBezTo>
                  <a:pt x="2212" y="2977"/>
                  <a:pt x="2228" y="2956"/>
                  <a:pt x="2228" y="2945"/>
                </a:cubicBezTo>
                <a:cubicBezTo>
                  <a:pt x="2228" y="2934"/>
                  <a:pt x="2230" y="2904"/>
                  <a:pt x="2230" y="2904"/>
                </a:cubicBezTo>
                <a:cubicBezTo>
                  <a:pt x="2228" y="2877"/>
                  <a:pt x="2228" y="2877"/>
                  <a:pt x="2228" y="2877"/>
                </a:cubicBezTo>
                <a:cubicBezTo>
                  <a:pt x="2244" y="2872"/>
                  <a:pt x="2244" y="2872"/>
                  <a:pt x="2244" y="2872"/>
                </a:cubicBezTo>
                <a:cubicBezTo>
                  <a:pt x="2244" y="2872"/>
                  <a:pt x="2243" y="2832"/>
                  <a:pt x="2251" y="2830"/>
                </a:cubicBezTo>
                <a:cubicBezTo>
                  <a:pt x="2259" y="2828"/>
                  <a:pt x="2267" y="2839"/>
                  <a:pt x="2269" y="2830"/>
                </a:cubicBezTo>
                <a:cubicBezTo>
                  <a:pt x="2271" y="2821"/>
                  <a:pt x="2282" y="2802"/>
                  <a:pt x="2282" y="2802"/>
                </a:cubicBezTo>
                <a:cubicBezTo>
                  <a:pt x="2272" y="2752"/>
                  <a:pt x="2272" y="2752"/>
                  <a:pt x="2272" y="2752"/>
                </a:cubicBezTo>
                <a:cubicBezTo>
                  <a:pt x="2284" y="2741"/>
                  <a:pt x="2284" y="2741"/>
                  <a:pt x="2284" y="2741"/>
                </a:cubicBezTo>
                <a:cubicBezTo>
                  <a:pt x="2271" y="2732"/>
                  <a:pt x="2271" y="2732"/>
                  <a:pt x="2271" y="2732"/>
                </a:cubicBezTo>
                <a:cubicBezTo>
                  <a:pt x="2271" y="2719"/>
                  <a:pt x="2271" y="2719"/>
                  <a:pt x="2271" y="2719"/>
                </a:cubicBezTo>
                <a:cubicBezTo>
                  <a:pt x="2271" y="2719"/>
                  <a:pt x="2289" y="2731"/>
                  <a:pt x="2292" y="2719"/>
                </a:cubicBezTo>
                <a:cubicBezTo>
                  <a:pt x="2295" y="2707"/>
                  <a:pt x="2292" y="2698"/>
                  <a:pt x="2292" y="2698"/>
                </a:cubicBezTo>
                <a:cubicBezTo>
                  <a:pt x="2308" y="2696"/>
                  <a:pt x="2308" y="2696"/>
                  <a:pt x="2308" y="2696"/>
                </a:cubicBezTo>
                <a:cubicBezTo>
                  <a:pt x="2313" y="2678"/>
                  <a:pt x="2313" y="2678"/>
                  <a:pt x="2313" y="2678"/>
                </a:cubicBezTo>
                <a:cubicBezTo>
                  <a:pt x="2323" y="2683"/>
                  <a:pt x="2323" y="2683"/>
                  <a:pt x="2323" y="2683"/>
                </a:cubicBezTo>
                <a:cubicBezTo>
                  <a:pt x="2336" y="2676"/>
                  <a:pt x="2336" y="2676"/>
                  <a:pt x="2336" y="2676"/>
                </a:cubicBezTo>
                <a:cubicBezTo>
                  <a:pt x="2331" y="2660"/>
                  <a:pt x="2331" y="2660"/>
                  <a:pt x="2331" y="2660"/>
                </a:cubicBezTo>
                <a:cubicBezTo>
                  <a:pt x="2341" y="2667"/>
                  <a:pt x="2341" y="2667"/>
                  <a:pt x="2341" y="2667"/>
                </a:cubicBezTo>
                <a:cubicBezTo>
                  <a:pt x="2341" y="2667"/>
                  <a:pt x="2345" y="2645"/>
                  <a:pt x="2351" y="2649"/>
                </a:cubicBezTo>
                <a:cubicBezTo>
                  <a:pt x="2357" y="2653"/>
                  <a:pt x="2358" y="2664"/>
                  <a:pt x="2364" y="2661"/>
                </a:cubicBezTo>
                <a:cubicBezTo>
                  <a:pt x="2370" y="2658"/>
                  <a:pt x="2398" y="2650"/>
                  <a:pt x="2406" y="2642"/>
                </a:cubicBezTo>
                <a:cubicBezTo>
                  <a:pt x="2414" y="2634"/>
                  <a:pt x="2428" y="2615"/>
                  <a:pt x="2428" y="2615"/>
                </a:cubicBezTo>
                <a:cubicBezTo>
                  <a:pt x="2428" y="2615"/>
                  <a:pt x="2420" y="2592"/>
                  <a:pt x="2430" y="2591"/>
                </a:cubicBezTo>
                <a:cubicBezTo>
                  <a:pt x="2440" y="2590"/>
                  <a:pt x="2451" y="2614"/>
                  <a:pt x="2463" y="2607"/>
                </a:cubicBezTo>
                <a:cubicBezTo>
                  <a:pt x="2475" y="2600"/>
                  <a:pt x="2479" y="2572"/>
                  <a:pt x="2485" y="2579"/>
                </a:cubicBezTo>
                <a:cubicBezTo>
                  <a:pt x="2491" y="2586"/>
                  <a:pt x="2494" y="2592"/>
                  <a:pt x="2499" y="2592"/>
                </a:cubicBezTo>
                <a:cubicBezTo>
                  <a:pt x="2504" y="2592"/>
                  <a:pt x="2515" y="2576"/>
                  <a:pt x="2515" y="2576"/>
                </a:cubicBezTo>
                <a:cubicBezTo>
                  <a:pt x="2515" y="2576"/>
                  <a:pt x="2534" y="2607"/>
                  <a:pt x="2548" y="2605"/>
                </a:cubicBezTo>
                <a:cubicBezTo>
                  <a:pt x="2562" y="2603"/>
                  <a:pt x="2564" y="2572"/>
                  <a:pt x="2580" y="2588"/>
                </a:cubicBezTo>
                <a:cubicBezTo>
                  <a:pt x="2596" y="2604"/>
                  <a:pt x="2588" y="2622"/>
                  <a:pt x="2598" y="2622"/>
                </a:cubicBezTo>
                <a:cubicBezTo>
                  <a:pt x="2608" y="2622"/>
                  <a:pt x="2624" y="2629"/>
                  <a:pt x="2624" y="2629"/>
                </a:cubicBezTo>
                <a:cubicBezTo>
                  <a:pt x="2624" y="2629"/>
                  <a:pt x="2623" y="2613"/>
                  <a:pt x="2630" y="2618"/>
                </a:cubicBezTo>
                <a:cubicBezTo>
                  <a:pt x="2637" y="2623"/>
                  <a:pt x="2645" y="2642"/>
                  <a:pt x="2650" y="2630"/>
                </a:cubicBezTo>
                <a:cubicBezTo>
                  <a:pt x="2655" y="2618"/>
                  <a:pt x="2648" y="2603"/>
                  <a:pt x="2648" y="2603"/>
                </a:cubicBezTo>
                <a:cubicBezTo>
                  <a:pt x="2662" y="2608"/>
                  <a:pt x="2662" y="2608"/>
                  <a:pt x="2662" y="2608"/>
                </a:cubicBezTo>
                <a:cubicBezTo>
                  <a:pt x="2667" y="2619"/>
                  <a:pt x="2667" y="2619"/>
                  <a:pt x="2667" y="2619"/>
                </a:cubicBezTo>
                <a:cubicBezTo>
                  <a:pt x="2677" y="2622"/>
                  <a:pt x="2677" y="2622"/>
                  <a:pt x="2677" y="2622"/>
                </a:cubicBezTo>
                <a:cubicBezTo>
                  <a:pt x="2677" y="2631"/>
                  <a:pt x="2677" y="2631"/>
                  <a:pt x="2677" y="2631"/>
                </a:cubicBezTo>
                <a:cubicBezTo>
                  <a:pt x="2677" y="2631"/>
                  <a:pt x="2701" y="2638"/>
                  <a:pt x="2696" y="2626"/>
                </a:cubicBezTo>
                <a:cubicBezTo>
                  <a:pt x="2691" y="2614"/>
                  <a:pt x="2677" y="2609"/>
                  <a:pt x="2677" y="2609"/>
                </a:cubicBezTo>
                <a:cubicBezTo>
                  <a:pt x="2671" y="2599"/>
                  <a:pt x="2671" y="2599"/>
                  <a:pt x="2671" y="2599"/>
                </a:cubicBezTo>
                <a:cubicBezTo>
                  <a:pt x="2671" y="2599"/>
                  <a:pt x="2691" y="2596"/>
                  <a:pt x="2689" y="2588"/>
                </a:cubicBezTo>
                <a:cubicBezTo>
                  <a:pt x="2687" y="2580"/>
                  <a:pt x="2685" y="2578"/>
                  <a:pt x="2676" y="2579"/>
                </a:cubicBezTo>
                <a:cubicBezTo>
                  <a:pt x="2667" y="2580"/>
                  <a:pt x="2640" y="2583"/>
                  <a:pt x="2649" y="2569"/>
                </a:cubicBezTo>
                <a:cubicBezTo>
                  <a:pt x="2658" y="2555"/>
                  <a:pt x="2667" y="2566"/>
                  <a:pt x="2678" y="2569"/>
                </a:cubicBezTo>
                <a:cubicBezTo>
                  <a:pt x="2689" y="2572"/>
                  <a:pt x="2697" y="2570"/>
                  <a:pt x="2707" y="2563"/>
                </a:cubicBezTo>
                <a:cubicBezTo>
                  <a:pt x="2717" y="2556"/>
                  <a:pt x="2728" y="2556"/>
                  <a:pt x="2728" y="2556"/>
                </a:cubicBezTo>
                <a:cubicBezTo>
                  <a:pt x="2729" y="2560"/>
                  <a:pt x="2729" y="2560"/>
                  <a:pt x="2729" y="2560"/>
                </a:cubicBezTo>
                <a:cubicBezTo>
                  <a:pt x="2729" y="2560"/>
                  <a:pt x="2759" y="2560"/>
                  <a:pt x="2759" y="2553"/>
                </a:cubicBezTo>
                <a:cubicBezTo>
                  <a:pt x="2759" y="2546"/>
                  <a:pt x="2765" y="2531"/>
                  <a:pt x="2768" y="2536"/>
                </a:cubicBezTo>
                <a:cubicBezTo>
                  <a:pt x="2771" y="2541"/>
                  <a:pt x="2771" y="2563"/>
                  <a:pt x="2771" y="2563"/>
                </a:cubicBezTo>
                <a:cubicBezTo>
                  <a:pt x="2771" y="2563"/>
                  <a:pt x="2804" y="2551"/>
                  <a:pt x="2813" y="2552"/>
                </a:cubicBezTo>
                <a:cubicBezTo>
                  <a:pt x="2822" y="2553"/>
                  <a:pt x="2829" y="2563"/>
                  <a:pt x="2829" y="2563"/>
                </a:cubicBezTo>
                <a:cubicBezTo>
                  <a:pt x="2829" y="2563"/>
                  <a:pt x="2826" y="2547"/>
                  <a:pt x="2836" y="2551"/>
                </a:cubicBezTo>
                <a:cubicBezTo>
                  <a:pt x="2846" y="2555"/>
                  <a:pt x="2846" y="2569"/>
                  <a:pt x="2846" y="2569"/>
                </a:cubicBezTo>
                <a:cubicBezTo>
                  <a:pt x="2866" y="2564"/>
                  <a:pt x="2866" y="2564"/>
                  <a:pt x="2866" y="2564"/>
                </a:cubicBezTo>
                <a:cubicBezTo>
                  <a:pt x="2862" y="2572"/>
                  <a:pt x="2862" y="2572"/>
                  <a:pt x="2862" y="2572"/>
                </a:cubicBezTo>
                <a:cubicBezTo>
                  <a:pt x="2862" y="2572"/>
                  <a:pt x="2863" y="2604"/>
                  <a:pt x="2881" y="2600"/>
                </a:cubicBezTo>
                <a:cubicBezTo>
                  <a:pt x="2899" y="2596"/>
                  <a:pt x="2912" y="2570"/>
                  <a:pt x="2930" y="2574"/>
                </a:cubicBezTo>
                <a:cubicBezTo>
                  <a:pt x="2948" y="2578"/>
                  <a:pt x="2949" y="2612"/>
                  <a:pt x="2958" y="2618"/>
                </a:cubicBezTo>
                <a:cubicBezTo>
                  <a:pt x="2967" y="2624"/>
                  <a:pt x="2985" y="2624"/>
                  <a:pt x="2985" y="2624"/>
                </a:cubicBezTo>
                <a:cubicBezTo>
                  <a:pt x="2982" y="2650"/>
                  <a:pt x="2982" y="2650"/>
                  <a:pt x="2982" y="2650"/>
                </a:cubicBezTo>
                <a:cubicBezTo>
                  <a:pt x="2982" y="2650"/>
                  <a:pt x="2963" y="2678"/>
                  <a:pt x="2965" y="2686"/>
                </a:cubicBezTo>
                <a:cubicBezTo>
                  <a:pt x="2967" y="2694"/>
                  <a:pt x="2977" y="2695"/>
                  <a:pt x="2977" y="2695"/>
                </a:cubicBezTo>
                <a:cubicBezTo>
                  <a:pt x="2982" y="2705"/>
                  <a:pt x="2982" y="2705"/>
                  <a:pt x="2982" y="2705"/>
                </a:cubicBezTo>
                <a:cubicBezTo>
                  <a:pt x="2963" y="2718"/>
                  <a:pt x="2963" y="2718"/>
                  <a:pt x="2963" y="2718"/>
                </a:cubicBezTo>
                <a:cubicBezTo>
                  <a:pt x="2976" y="2751"/>
                  <a:pt x="2976" y="2751"/>
                  <a:pt x="2976" y="2751"/>
                </a:cubicBezTo>
                <a:cubicBezTo>
                  <a:pt x="2976" y="2751"/>
                  <a:pt x="2991" y="2732"/>
                  <a:pt x="2992" y="2738"/>
                </a:cubicBezTo>
                <a:cubicBezTo>
                  <a:pt x="2993" y="2744"/>
                  <a:pt x="2981" y="2769"/>
                  <a:pt x="2981" y="2769"/>
                </a:cubicBezTo>
                <a:cubicBezTo>
                  <a:pt x="2991" y="2766"/>
                  <a:pt x="2991" y="2766"/>
                  <a:pt x="2991" y="2766"/>
                </a:cubicBezTo>
                <a:cubicBezTo>
                  <a:pt x="2994" y="2798"/>
                  <a:pt x="2994" y="2798"/>
                  <a:pt x="2994" y="2798"/>
                </a:cubicBezTo>
                <a:cubicBezTo>
                  <a:pt x="2994" y="2798"/>
                  <a:pt x="3011" y="2798"/>
                  <a:pt x="3011" y="2804"/>
                </a:cubicBezTo>
                <a:cubicBezTo>
                  <a:pt x="3011" y="2810"/>
                  <a:pt x="3008" y="2826"/>
                  <a:pt x="3008" y="2826"/>
                </a:cubicBezTo>
                <a:cubicBezTo>
                  <a:pt x="3023" y="2843"/>
                  <a:pt x="3023" y="2843"/>
                  <a:pt x="3023" y="2843"/>
                </a:cubicBezTo>
                <a:cubicBezTo>
                  <a:pt x="3023" y="2843"/>
                  <a:pt x="3047" y="2837"/>
                  <a:pt x="3049" y="2830"/>
                </a:cubicBezTo>
                <a:cubicBezTo>
                  <a:pt x="3051" y="2823"/>
                  <a:pt x="3053" y="2810"/>
                  <a:pt x="3053" y="2810"/>
                </a:cubicBezTo>
                <a:cubicBezTo>
                  <a:pt x="3065" y="2810"/>
                  <a:pt x="3065" y="2810"/>
                  <a:pt x="3065" y="2810"/>
                </a:cubicBezTo>
                <a:cubicBezTo>
                  <a:pt x="3065" y="2810"/>
                  <a:pt x="3064" y="2789"/>
                  <a:pt x="3071" y="2779"/>
                </a:cubicBezTo>
                <a:cubicBezTo>
                  <a:pt x="3078" y="2769"/>
                  <a:pt x="3082" y="2752"/>
                  <a:pt x="3079" y="2742"/>
                </a:cubicBezTo>
                <a:cubicBezTo>
                  <a:pt x="3076" y="2732"/>
                  <a:pt x="3066" y="2699"/>
                  <a:pt x="3066" y="2690"/>
                </a:cubicBezTo>
                <a:cubicBezTo>
                  <a:pt x="3066" y="2681"/>
                  <a:pt x="3072" y="2667"/>
                  <a:pt x="3072" y="2651"/>
                </a:cubicBezTo>
                <a:cubicBezTo>
                  <a:pt x="3072" y="2635"/>
                  <a:pt x="3052" y="2609"/>
                  <a:pt x="3056" y="2595"/>
                </a:cubicBezTo>
                <a:cubicBezTo>
                  <a:pt x="3060" y="2581"/>
                  <a:pt x="3052" y="2541"/>
                  <a:pt x="3064" y="2526"/>
                </a:cubicBezTo>
                <a:cubicBezTo>
                  <a:pt x="3076" y="2511"/>
                  <a:pt x="3084" y="2487"/>
                  <a:pt x="3084" y="2487"/>
                </a:cubicBezTo>
                <a:cubicBezTo>
                  <a:pt x="3094" y="2481"/>
                  <a:pt x="3094" y="2481"/>
                  <a:pt x="3094" y="2481"/>
                </a:cubicBezTo>
                <a:cubicBezTo>
                  <a:pt x="3107" y="2468"/>
                  <a:pt x="3107" y="2468"/>
                  <a:pt x="3107" y="2468"/>
                </a:cubicBezTo>
                <a:cubicBezTo>
                  <a:pt x="3113" y="2452"/>
                  <a:pt x="3113" y="2452"/>
                  <a:pt x="3113" y="2452"/>
                </a:cubicBezTo>
                <a:cubicBezTo>
                  <a:pt x="3122" y="2458"/>
                  <a:pt x="3122" y="2458"/>
                  <a:pt x="3122" y="2458"/>
                </a:cubicBezTo>
                <a:cubicBezTo>
                  <a:pt x="3125" y="2444"/>
                  <a:pt x="3125" y="2444"/>
                  <a:pt x="3125" y="2444"/>
                </a:cubicBezTo>
                <a:cubicBezTo>
                  <a:pt x="3125" y="2444"/>
                  <a:pt x="3155" y="2448"/>
                  <a:pt x="3160" y="2442"/>
                </a:cubicBezTo>
                <a:cubicBezTo>
                  <a:pt x="3165" y="2436"/>
                  <a:pt x="3161" y="2425"/>
                  <a:pt x="3161" y="2425"/>
                </a:cubicBezTo>
                <a:cubicBezTo>
                  <a:pt x="3174" y="2426"/>
                  <a:pt x="3174" y="2426"/>
                  <a:pt x="3174" y="2426"/>
                </a:cubicBezTo>
                <a:cubicBezTo>
                  <a:pt x="3178" y="2420"/>
                  <a:pt x="3178" y="2420"/>
                  <a:pt x="3178" y="2420"/>
                </a:cubicBezTo>
                <a:cubicBezTo>
                  <a:pt x="3189" y="2419"/>
                  <a:pt x="3189" y="2419"/>
                  <a:pt x="3189" y="2419"/>
                </a:cubicBezTo>
                <a:cubicBezTo>
                  <a:pt x="3206" y="2398"/>
                  <a:pt x="3206" y="2398"/>
                  <a:pt x="3206" y="2398"/>
                </a:cubicBezTo>
                <a:cubicBezTo>
                  <a:pt x="3206" y="2398"/>
                  <a:pt x="3210" y="2378"/>
                  <a:pt x="3229" y="2373"/>
                </a:cubicBezTo>
                <a:cubicBezTo>
                  <a:pt x="3248" y="2368"/>
                  <a:pt x="3259" y="2379"/>
                  <a:pt x="3268" y="2370"/>
                </a:cubicBezTo>
                <a:cubicBezTo>
                  <a:pt x="3277" y="2361"/>
                  <a:pt x="3283" y="2344"/>
                  <a:pt x="3283" y="2344"/>
                </a:cubicBezTo>
                <a:cubicBezTo>
                  <a:pt x="3293" y="2346"/>
                  <a:pt x="3293" y="2346"/>
                  <a:pt x="3293" y="2346"/>
                </a:cubicBezTo>
                <a:cubicBezTo>
                  <a:pt x="3298" y="2331"/>
                  <a:pt x="3298" y="2331"/>
                  <a:pt x="3298" y="2331"/>
                </a:cubicBezTo>
                <a:cubicBezTo>
                  <a:pt x="3352" y="2328"/>
                  <a:pt x="3352" y="2328"/>
                  <a:pt x="3352" y="2328"/>
                </a:cubicBezTo>
                <a:cubicBezTo>
                  <a:pt x="3355" y="2312"/>
                  <a:pt x="3355" y="2312"/>
                  <a:pt x="3355" y="2312"/>
                </a:cubicBezTo>
                <a:cubicBezTo>
                  <a:pt x="3330" y="2314"/>
                  <a:pt x="3330" y="2314"/>
                  <a:pt x="3330" y="2314"/>
                </a:cubicBezTo>
                <a:cubicBezTo>
                  <a:pt x="3330" y="2314"/>
                  <a:pt x="3344" y="2309"/>
                  <a:pt x="3343" y="2302"/>
                </a:cubicBezTo>
                <a:cubicBezTo>
                  <a:pt x="3342" y="2295"/>
                  <a:pt x="3332" y="2288"/>
                  <a:pt x="3332" y="2288"/>
                </a:cubicBezTo>
                <a:cubicBezTo>
                  <a:pt x="3355" y="2284"/>
                  <a:pt x="3355" y="2284"/>
                  <a:pt x="3355" y="2284"/>
                </a:cubicBezTo>
                <a:cubicBezTo>
                  <a:pt x="3371" y="2290"/>
                  <a:pt x="3371" y="2290"/>
                  <a:pt x="3371" y="2290"/>
                </a:cubicBezTo>
                <a:cubicBezTo>
                  <a:pt x="3394" y="2266"/>
                  <a:pt x="3394" y="2266"/>
                  <a:pt x="3394" y="2266"/>
                </a:cubicBezTo>
                <a:cubicBezTo>
                  <a:pt x="3357" y="2265"/>
                  <a:pt x="3357" y="2265"/>
                  <a:pt x="3357" y="2265"/>
                </a:cubicBezTo>
                <a:cubicBezTo>
                  <a:pt x="3355" y="2248"/>
                  <a:pt x="3355" y="2248"/>
                  <a:pt x="3355" y="2248"/>
                </a:cubicBezTo>
                <a:cubicBezTo>
                  <a:pt x="3364" y="2257"/>
                  <a:pt x="3364" y="2257"/>
                  <a:pt x="3364" y="2257"/>
                </a:cubicBezTo>
                <a:cubicBezTo>
                  <a:pt x="3394" y="2246"/>
                  <a:pt x="3394" y="2246"/>
                  <a:pt x="3394" y="2246"/>
                </a:cubicBezTo>
                <a:cubicBezTo>
                  <a:pt x="3397" y="2207"/>
                  <a:pt x="3397" y="2207"/>
                  <a:pt x="3397" y="2207"/>
                </a:cubicBezTo>
                <a:cubicBezTo>
                  <a:pt x="3378" y="2215"/>
                  <a:pt x="3378" y="2215"/>
                  <a:pt x="3378" y="2215"/>
                </a:cubicBezTo>
                <a:cubicBezTo>
                  <a:pt x="3374" y="2197"/>
                  <a:pt x="3374" y="2197"/>
                  <a:pt x="3374" y="2197"/>
                </a:cubicBezTo>
                <a:cubicBezTo>
                  <a:pt x="3358" y="2186"/>
                  <a:pt x="3358" y="2186"/>
                  <a:pt x="3358" y="2186"/>
                </a:cubicBezTo>
                <a:cubicBezTo>
                  <a:pt x="3387" y="2201"/>
                  <a:pt x="3387" y="2201"/>
                  <a:pt x="3387" y="2201"/>
                </a:cubicBezTo>
                <a:cubicBezTo>
                  <a:pt x="3394" y="2195"/>
                  <a:pt x="3394" y="2195"/>
                  <a:pt x="3394" y="2195"/>
                </a:cubicBezTo>
                <a:cubicBezTo>
                  <a:pt x="3381" y="2185"/>
                  <a:pt x="3381" y="2185"/>
                  <a:pt x="3381" y="2185"/>
                </a:cubicBezTo>
                <a:cubicBezTo>
                  <a:pt x="3399" y="2185"/>
                  <a:pt x="3399" y="2185"/>
                  <a:pt x="3399" y="2185"/>
                </a:cubicBezTo>
                <a:cubicBezTo>
                  <a:pt x="3399" y="2185"/>
                  <a:pt x="3377" y="2156"/>
                  <a:pt x="3377" y="2149"/>
                </a:cubicBezTo>
                <a:cubicBezTo>
                  <a:pt x="3377" y="2142"/>
                  <a:pt x="3382" y="2139"/>
                  <a:pt x="3382" y="2139"/>
                </a:cubicBezTo>
                <a:cubicBezTo>
                  <a:pt x="3382" y="2139"/>
                  <a:pt x="3365" y="2128"/>
                  <a:pt x="3367" y="2125"/>
                </a:cubicBezTo>
                <a:cubicBezTo>
                  <a:pt x="3369" y="2122"/>
                  <a:pt x="3388" y="2110"/>
                  <a:pt x="3388" y="2110"/>
                </a:cubicBezTo>
                <a:cubicBezTo>
                  <a:pt x="3383" y="2128"/>
                  <a:pt x="3383" y="2128"/>
                  <a:pt x="3383" y="2128"/>
                </a:cubicBezTo>
                <a:cubicBezTo>
                  <a:pt x="3404" y="2145"/>
                  <a:pt x="3404" y="2145"/>
                  <a:pt x="3404" y="2145"/>
                </a:cubicBezTo>
                <a:cubicBezTo>
                  <a:pt x="3404" y="2145"/>
                  <a:pt x="3412" y="2121"/>
                  <a:pt x="3412" y="2108"/>
                </a:cubicBezTo>
                <a:cubicBezTo>
                  <a:pt x="3412" y="2095"/>
                  <a:pt x="3450" y="2064"/>
                  <a:pt x="3449" y="2072"/>
                </a:cubicBezTo>
                <a:cubicBezTo>
                  <a:pt x="3448" y="2080"/>
                  <a:pt x="3425" y="2113"/>
                  <a:pt x="3425" y="2113"/>
                </a:cubicBezTo>
                <a:cubicBezTo>
                  <a:pt x="3419" y="2135"/>
                  <a:pt x="3419" y="2135"/>
                  <a:pt x="3419" y="2135"/>
                </a:cubicBezTo>
                <a:cubicBezTo>
                  <a:pt x="3432" y="2136"/>
                  <a:pt x="3432" y="2136"/>
                  <a:pt x="3432" y="2136"/>
                </a:cubicBezTo>
                <a:cubicBezTo>
                  <a:pt x="3432" y="2136"/>
                  <a:pt x="3429" y="2158"/>
                  <a:pt x="3424" y="2162"/>
                </a:cubicBezTo>
                <a:cubicBezTo>
                  <a:pt x="3419" y="2166"/>
                  <a:pt x="3401" y="2200"/>
                  <a:pt x="3408" y="2200"/>
                </a:cubicBezTo>
                <a:cubicBezTo>
                  <a:pt x="3415" y="2200"/>
                  <a:pt x="3425" y="2176"/>
                  <a:pt x="3431" y="2171"/>
                </a:cubicBezTo>
                <a:cubicBezTo>
                  <a:pt x="3437" y="2166"/>
                  <a:pt x="3467" y="2150"/>
                  <a:pt x="3469" y="2137"/>
                </a:cubicBezTo>
                <a:cubicBezTo>
                  <a:pt x="3471" y="2124"/>
                  <a:pt x="3467" y="2103"/>
                  <a:pt x="3467" y="2092"/>
                </a:cubicBezTo>
                <a:cubicBezTo>
                  <a:pt x="3467" y="2081"/>
                  <a:pt x="3471" y="2055"/>
                  <a:pt x="3478" y="2052"/>
                </a:cubicBezTo>
                <a:cubicBezTo>
                  <a:pt x="3485" y="2049"/>
                  <a:pt x="3480" y="2054"/>
                  <a:pt x="3477" y="2067"/>
                </a:cubicBezTo>
                <a:cubicBezTo>
                  <a:pt x="3474" y="2080"/>
                  <a:pt x="3486" y="2084"/>
                  <a:pt x="3486" y="2084"/>
                </a:cubicBezTo>
                <a:cubicBezTo>
                  <a:pt x="3486" y="2084"/>
                  <a:pt x="3480" y="2109"/>
                  <a:pt x="3483" y="2109"/>
                </a:cubicBezTo>
                <a:cubicBezTo>
                  <a:pt x="3486" y="2109"/>
                  <a:pt x="3517" y="2070"/>
                  <a:pt x="3527" y="2060"/>
                </a:cubicBezTo>
                <a:cubicBezTo>
                  <a:pt x="3537" y="2050"/>
                  <a:pt x="3559" y="2034"/>
                  <a:pt x="3556" y="2030"/>
                </a:cubicBezTo>
                <a:cubicBezTo>
                  <a:pt x="3553" y="2026"/>
                  <a:pt x="3544" y="2029"/>
                  <a:pt x="3544" y="2019"/>
                </a:cubicBezTo>
                <a:cubicBezTo>
                  <a:pt x="3544" y="2009"/>
                  <a:pt x="3562" y="2014"/>
                  <a:pt x="3582" y="2014"/>
                </a:cubicBezTo>
                <a:cubicBezTo>
                  <a:pt x="3602" y="2014"/>
                  <a:pt x="3648" y="1992"/>
                  <a:pt x="3648" y="1992"/>
                </a:cubicBezTo>
                <a:cubicBezTo>
                  <a:pt x="3635" y="1986"/>
                  <a:pt x="3635" y="1986"/>
                  <a:pt x="3635" y="1986"/>
                </a:cubicBezTo>
                <a:cubicBezTo>
                  <a:pt x="3635" y="1986"/>
                  <a:pt x="3611" y="1997"/>
                  <a:pt x="3599" y="1998"/>
                </a:cubicBezTo>
                <a:cubicBezTo>
                  <a:pt x="3587" y="1999"/>
                  <a:pt x="3567" y="2007"/>
                  <a:pt x="3570" y="1994"/>
                </a:cubicBezTo>
                <a:cubicBezTo>
                  <a:pt x="3573" y="1981"/>
                  <a:pt x="3608" y="1978"/>
                  <a:pt x="3608" y="1978"/>
                </a:cubicBezTo>
                <a:cubicBezTo>
                  <a:pt x="3668" y="1977"/>
                  <a:pt x="3668" y="1977"/>
                  <a:pt x="3668" y="1977"/>
                </a:cubicBezTo>
                <a:cubicBezTo>
                  <a:pt x="3697" y="1950"/>
                  <a:pt x="3697" y="1950"/>
                  <a:pt x="3697" y="1950"/>
                </a:cubicBezTo>
                <a:cubicBezTo>
                  <a:pt x="3703" y="1960"/>
                  <a:pt x="3703" y="1960"/>
                  <a:pt x="3703" y="1960"/>
                </a:cubicBezTo>
                <a:cubicBezTo>
                  <a:pt x="3721" y="1951"/>
                  <a:pt x="3721" y="1951"/>
                  <a:pt x="3721" y="1951"/>
                </a:cubicBezTo>
                <a:cubicBezTo>
                  <a:pt x="3719" y="1974"/>
                  <a:pt x="3719" y="1974"/>
                  <a:pt x="3719" y="1974"/>
                </a:cubicBezTo>
                <a:cubicBezTo>
                  <a:pt x="3739" y="1961"/>
                  <a:pt x="3739" y="1961"/>
                  <a:pt x="3739" y="1961"/>
                </a:cubicBezTo>
                <a:cubicBezTo>
                  <a:pt x="3755" y="1957"/>
                  <a:pt x="3755" y="1957"/>
                  <a:pt x="3755" y="1957"/>
                </a:cubicBezTo>
                <a:cubicBezTo>
                  <a:pt x="3760" y="1935"/>
                  <a:pt x="3760" y="1935"/>
                  <a:pt x="3760" y="1935"/>
                </a:cubicBezTo>
                <a:cubicBezTo>
                  <a:pt x="3751" y="1927"/>
                  <a:pt x="3751" y="1927"/>
                  <a:pt x="3751" y="1927"/>
                </a:cubicBezTo>
                <a:cubicBezTo>
                  <a:pt x="3749" y="1946"/>
                  <a:pt x="3749" y="1946"/>
                  <a:pt x="3749" y="1946"/>
                </a:cubicBezTo>
                <a:cubicBezTo>
                  <a:pt x="3733" y="1949"/>
                  <a:pt x="3733" y="1949"/>
                  <a:pt x="3733" y="1949"/>
                </a:cubicBezTo>
                <a:cubicBezTo>
                  <a:pt x="3733" y="1930"/>
                  <a:pt x="3733" y="1930"/>
                  <a:pt x="3733" y="1930"/>
                </a:cubicBezTo>
                <a:cubicBezTo>
                  <a:pt x="3720" y="1916"/>
                  <a:pt x="3720" y="1916"/>
                  <a:pt x="3720" y="1916"/>
                </a:cubicBezTo>
                <a:cubicBezTo>
                  <a:pt x="3736" y="1908"/>
                  <a:pt x="3736" y="1908"/>
                  <a:pt x="3736" y="1908"/>
                </a:cubicBezTo>
                <a:cubicBezTo>
                  <a:pt x="3740" y="1885"/>
                  <a:pt x="3740" y="1885"/>
                  <a:pt x="3740" y="1885"/>
                </a:cubicBezTo>
                <a:cubicBezTo>
                  <a:pt x="3740" y="1885"/>
                  <a:pt x="3755" y="1868"/>
                  <a:pt x="3765" y="1863"/>
                </a:cubicBezTo>
                <a:cubicBezTo>
                  <a:pt x="3775" y="1858"/>
                  <a:pt x="3780" y="1840"/>
                  <a:pt x="3780" y="1840"/>
                </a:cubicBezTo>
                <a:cubicBezTo>
                  <a:pt x="3799" y="1845"/>
                  <a:pt x="3799" y="1845"/>
                  <a:pt x="3799" y="1845"/>
                </a:cubicBezTo>
                <a:cubicBezTo>
                  <a:pt x="3809" y="1830"/>
                  <a:pt x="3809" y="1830"/>
                  <a:pt x="3809" y="1830"/>
                </a:cubicBezTo>
                <a:cubicBezTo>
                  <a:pt x="3809" y="1830"/>
                  <a:pt x="3812" y="1841"/>
                  <a:pt x="3821" y="1835"/>
                </a:cubicBezTo>
                <a:cubicBezTo>
                  <a:pt x="3830" y="1829"/>
                  <a:pt x="3857" y="1805"/>
                  <a:pt x="3857" y="1805"/>
                </a:cubicBezTo>
                <a:cubicBezTo>
                  <a:pt x="3858" y="1823"/>
                  <a:pt x="3858" y="1823"/>
                  <a:pt x="3858" y="1823"/>
                </a:cubicBezTo>
                <a:cubicBezTo>
                  <a:pt x="3858" y="1823"/>
                  <a:pt x="3889" y="1804"/>
                  <a:pt x="3898" y="1799"/>
                </a:cubicBezTo>
                <a:cubicBezTo>
                  <a:pt x="3907" y="1794"/>
                  <a:pt x="3939" y="1793"/>
                  <a:pt x="3939" y="1793"/>
                </a:cubicBezTo>
                <a:cubicBezTo>
                  <a:pt x="3939" y="1771"/>
                  <a:pt x="3939" y="1771"/>
                  <a:pt x="3939" y="1771"/>
                </a:cubicBezTo>
                <a:cubicBezTo>
                  <a:pt x="3939" y="1771"/>
                  <a:pt x="3940" y="1771"/>
                  <a:pt x="3940" y="1772"/>
                </a:cubicBezTo>
                <a:cubicBezTo>
                  <a:pt x="3944" y="1774"/>
                  <a:pt x="3954" y="1778"/>
                  <a:pt x="3966" y="1773"/>
                </a:cubicBezTo>
                <a:cubicBezTo>
                  <a:pt x="3981" y="1767"/>
                  <a:pt x="3993" y="1751"/>
                  <a:pt x="3993" y="1751"/>
                </a:cubicBezTo>
                <a:cubicBezTo>
                  <a:pt x="3999" y="1765"/>
                  <a:pt x="3999" y="1765"/>
                  <a:pt x="3999" y="1765"/>
                </a:cubicBezTo>
                <a:cubicBezTo>
                  <a:pt x="3999" y="1765"/>
                  <a:pt x="4031" y="1751"/>
                  <a:pt x="4036" y="1747"/>
                </a:cubicBezTo>
                <a:cubicBezTo>
                  <a:pt x="4041" y="1743"/>
                  <a:pt x="4062" y="1737"/>
                  <a:pt x="4062" y="1737"/>
                </a:cubicBezTo>
                <a:cubicBezTo>
                  <a:pt x="4072" y="1738"/>
                  <a:pt x="4072" y="1738"/>
                  <a:pt x="4072" y="1738"/>
                </a:cubicBezTo>
                <a:cubicBezTo>
                  <a:pt x="4043" y="1761"/>
                  <a:pt x="4043" y="1761"/>
                  <a:pt x="4043" y="1761"/>
                </a:cubicBezTo>
                <a:cubicBezTo>
                  <a:pt x="4104" y="1755"/>
                  <a:pt x="4104" y="1755"/>
                  <a:pt x="4104" y="1755"/>
                </a:cubicBezTo>
                <a:cubicBezTo>
                  <a:pt x="4104" y="1755"/>
                  <a:pt x="4075" y="1758"/>
                  <a:pt x="4074" y="1764"/>
                </a:cubicBezTo>
                <a:cubicBezTo>
                  <a:pt x="4073" y="1770"/>
                  <a:pt x="4069" y="1777"/>
                  <a:pt x="4069" y="1777"/>
                </a:cubicBezTo>
                <a:cubicBezTo>
                  <a:pt x="4069" y="1777"/>
                  <a:pt x="4050" y="1766"/>
                  <a:pt x="4043" y="1769"/>
                </a:cubicBezTo>
                <a:cubicBezTo>
                  <a:pt x="4036" y="1772"/>
                  <a:pt x="3968" y="1806"/>
                  <a:pt x="3965" y="1814"/>
                </a:cubicBezTo>
                <a:cubicBezTo>
                  <a:pt x="3962" y="1822"/>
                  <a:pt x="3956" y="1846"/>
                  <a:pt x="3961" y="1847"/>
                </a:cubicBezTo>
                <a:cubicBezTo>
                  <a:pt x="3966" y="1848"/>
                  <a:pt x="3973" y="1842"/>
                  <a:pt x="3973" y="1842"/>
                </a:cubicBezTo>
                <a:cubicBezTo>
                  <a:pt x="3973" y="1842"/>
                  <a:pt x="3971" y="1858"/>
                  <a:pt x="3980" y="1856"/>
                </a:cubicBezTo>
                <a:cubicBezTo>
                  <a:pt x="3989" y="1854"/>
                  <a:pt x="3995" y="1841"/>
                  <a:pt x="3995" y="1841"/>
                </a:cubicBezTo>
                <a:cubicBezTo>
                  <a:pt x="3995" y="1841"/>
                  <a:pt x="4021" y="1838"/>
                  <a:pt x="4035" y="1826"/>
                </a:cubicBezTo>
                <a:cubicBezTo>
                  <a:pt x="4049" y="1814"/>
                  <a:pt x="4064" y="1793"/>
                  <a:pt x="4064" y="1793"/>
                </a:cubicBezTo>
                <a:cubicBezTo>
                  <a:pt x="4064" y="1793"/>
                  <a:pt x="4064" y="1809"/>
                  <a:pt x="4078" y="1806"/>
                </a:cubicBezTo>
                <a:cubicBezTo>
                  <a:pt x="4092" y="1803"/>
                  <a:pt x="4126" y="1788"/>
                  <a:pt x="4137" y="1785"/>
                </a:cubicBezTo>
                <a:cubicBezTo>
                  <a:pt x="4148" y="1782"/>
                  <a:pt x="4200" y="1769"/>
                  <a:pt x="4200" y="1769"/>
                </a:cubicBezTo>
                <a:cubicBezTo>
                  <a:pt x="4191" y="1759"/>
                  <a:pt x="4191" y="1759"/>
                  <a:pt x="4191" y="1759"/>
                </a:cubicBezTo>
                <a:cubicBezTo>
                  <a:pt x="4195" y="1746"/>
                  <a:pt x="4195" y="1746"/>
                  <a:pt x="4195" y="1746"/>
                </a:cubicBezTo>
                <a:cubicBezTo>
                  <a:pt x="4174" y="1750"/>
                  <a:pt x="4174" y="1750"/>
                  <a:pt x="4174" y="1750"/>
                </a:cubicBezTo>
                <a:cubicBezTo>
                  <a:pt x="4173" y="1734"/>
                  <a:pt x="4173" y="1734"/>
                  <a:pt x="4173" y="1734"/>
                </a:cubicBezTo>
                <a:cubicBezTo>
                  <a:pt x="4173" y="1734"/>
                  <a:pt x="4149" y="1748"/>
                  <a:pt x="4143" y="1747"/>
                </a:cubicBezTo>
                <a:cubicBezTo>
                  <a:pt x="4137" y="1746"/>
                  <a:pt x="4139" y="1737"/>
                  <a:pt x="4139" y="1737"/>
                </a:cubicBezTo>
                <a:cubicBezTo>
                  <a:pt x="4139" y="1737"/>
                  <a:pt x="4107" y="1740"/>
                  <a:pt x="4101" y="1735"/>
                </a:cubicBezTo>
                <a:cubicBezTo>
                  <a:pt x="4095" y="1730"/>
                  <a:pt x="4087" y="1720"/>
                  <a:pt x="4096" y="1720"/>
                </a:cubicBezTo>
                <a:cubicBezTo>
                  <a:pt x="4105" y="1720"/>
                  <a:pt x="4092" y="1707"/>
                  <a:pt x="4081" y="1710"/>
                </a:cubicBezTo>
                <a:cubicBezTo>
                  <a:pt x="4070" y="1713"/>
                  <a:pt x="4066" y="1694"/>
                  <a:pt x="4066" y="1689"/>
                </a:cubicBezTo>
                <a:cubicBezTo>
                  <a:pt x="4066" y="1684"/>
                  <a:pt x="4078" y="1671"/>
                  <a:pt x="4078" y="1671"/>
                </a:cubicBezTo>
                <a:cubicBezTo>
                  <a:pt x="4062" y="1670"/>
                  <a:pt x="4062" y="1670"/>
                  <a:pt x="4062" y="1670"/>
                </a:cubicBezTo>
                <a:cubicBezTo>
                  <a:pt x="4062" y="1670"/>
                  <a:pt x="4081" y="1655"/>
                  <a:pt x="4088" y="1647"/>
                </a:cubicBezTo>
                <a:cubicBezTo>
                  <a:pt x="4095" y="1639"/>
                  <a:pt x="4114" y="1620"/>
                  <a:pt x="4114" y="1620"/>
                </a:cubicBezTo>
                <a:cubicBezTo>
                  <a:pt x="4104" y="1617"/>
                  <a:pt x="4104" y="1617"/>
                  <a:pt x="4104" y="1617"/>
                </a:cubicBezTo>
                <a:cubicBezTo>
                  <a:pt x="4090" y="1635"/>
                  <a:pt x="4090" y="1635"/>
                  <a:pt x="4090" y="1635"/>
                </a:cubicBezTo>
                <a:cubicBezTo>
                  <a:pt x="4075" y="1627"/>
                  <a:pt x="4075" y="1627"/>
                  <a:pt x="4075" y="1627"/>
                </a:cubicBezTo>
                <a:cubicBezTo>
                  <a:pt x="4056" y="1641"/>
                  <a:pt x="4056" y="1641"/>
                  <a:pt x="4056" y="1641"/>
                </a:cubicBezTo>
                <a:cubicBezTo>
                  <a:pt x="4053" y="1628"/>
                  <a:pt x="4053" y="1628"/>
                  <a:pt x="4053" y="1628"/>
                </a:cubicBezTo>
                <a:cubicBezTo>
                  <a:pt x="4034" y="1621"/>
                  <a:pt x="4034" y="1621"/>
                  <a:pt x="4034" y="1621"/>
                </a:cubicBezTo>
                <a:cubicBezTo>
                  <a:pt x="4019" y="1623"/>
                  <a:pt x="4019" y="1623"/>
                  <a:pt x="4019" y="1623"/>
                </a:cubicBezTo>
                <a:cubicBezTo>
                  <a:pt x="4056" y="1610"/>
                  <a:pt x="4056" y="1610"/>
                  <a:pt x="4056" y="1610"/>
                </a:cubicBezTo>
                <a:cubicBezTo>
                  <a:pt x="4056" y="1610"/>
                  <a:pt x="4063" y="1620"/>
                  <a:pt x="4073" y="1619"/>
                </a:cubicBezTo>
                <a:cubicBezTo>
                  <a:pt x="4083" y="1618"/>
                  <a:pt x="4106" y="1600"/>
                  <a:pt x="4106" y="1600"/>
                </a:cubicBezTo>
                <a:cubicBezTo>
                  <a:pt x="4106" y="1600"/>
                  <a:pt x="4132" y="1605"/>
                  <a:pt x="4133" y="1598"/>
                </a:cubicBezTo>
                <a:cubicBezTo>
                  <a:pt x="4134" y="1591"/>
                  <a:pt x="4126" y="1580"/>
                  <a:pt x="4126" y="1580"/>
                </a:cubicBezTo>
                <a:cubicBezTo>
                  <a:pt x="4142" y="1579"/>
                  <a:pt x="4142" y="1579"/>
                  <a:pt x="4142" y="1579"/>
                </a:cubicBezTo>
                <a:cubicBezTo>
                  <a:pt x="4142" y="1579"/>
                  <a:pt x="4133" y="1556"/>
                  <a:pt x="4091" y="1556"/>
                </a:cubicBezTo>
                <a:cubicBezTo>
                  <a:pt x="4049" y="1556"/>
                  <a:pt x="3999" y="1577"/>
                  <a:pt x="3976" y="1582"/>
                </a:cubicBezTo>
                <a:cubicBezTo>
                  <a:pt x="3953" y="1587"/>
                  <a:pt x="3916" y="1610"/>
                  <a:pt x="3909" y="1616"/>
                </a:cubicBezTo>
                <a:cubicBezTo>
                  <a:pt x="3902" y="1622"/>
                  <a:pt x="3860" y="1655"/>
                  <a:pt x="3850" y="1663"/>
                </a:cubicBezTo>
                <a:cubicBezTo>
                  <a:pt x="3840" y="1671"/>
                  <a:pt x="3804" y="1676"/>
                  <a:pt x="3804" y="1676"/>
                </a:cubicBezTo>
                <a:cubicBezTo>
                  <a:pt x="3804" y="1676"/>
                  <a:pt x="3854" y="1648"/>
                  <a:pt x="3863" y="1639"/>
                </a:cubicBezTo>
                <a:cubicBezTo>
                  <a:pt x="3872" y="1630"/>
                  <a:pt x="3885" y="1616"/>
                  <a:pt x="3885" y="1616"/>
                </a:cubicBezTo>
                <a:cubicBezTo>
                  <a:pt x="3870" y="1607"/>
                  <a:pt x="3870" y="1607"/>
                  <a:pt x="3870" y="1607"/>
                </a:cubicBezTo>
                <a:cubicBezTo>
                  <a:pt x="3870" y="1607"/>
                  <a:pt x="3891" y="1615"/>
                  <a:pt x="3896" y="1610"/>
                </a:cubicBezTo>
                <a:cubicBezTo>
                  <a:pt x="3901" y="1605"/>
                  <a:pt x="3951" y="1572"/>
                  <a:pt x="3963" y="1563"/>
                </a:cubicBezTo>
                <a:cubicBezTo>
                  <a:pt x="3975" y="1554"/>
                  <a:pt x="4013" y="1548"/>
                  <a:pt x="4017" y="1550"/>
                </a:cubicBezTo>
                <a:cubicBezTo>
                  <a:pt x="4021" y="1552"/>
                  <a:pt x="4043" y="1514"/>
                  <a:pt x="4073" y="1509"/>
                </a:cubicBezTo>
                <a:cubicBezTo>
                  <a:pt x="4103" y="1504"/>
                  <a:pt x="4179" y="1500"/>
                  <a:pt x="4195" y="1500"/>
                </a:cubicBezTo>
                <a:cubicBezTo>
                  <a:pt x="4211" y="1500"/>
                  <a:pt x="4270" y="1517"/>
                  <a:pt x="4280" y="1515"/>
                </a:cubicBezTo>
                <a:cubicBezTo>
                  <a:pt x="4290" y="1513"/>
                  <a:pt x="4311" y="1502"/>
                  <a:pt x="4321" y="1501"/>
                </a:cubicBezTo>
                <a:cubicBezTo>
                  <a:pt x="4331" y="1500"/>
                  <a:pt x="4362" y="1495"/>
                  <a:pt x="4374" y="1486"/>
                </a:cubicBezTo>
                <a:cubicBezTo>
                  <a:pt x="4386" y="1477"/>
                  <a:pt x="4412" y="1452"/>
                  <a:pt x="4422" y="1450"/>
                </a:cubicBezTo>
                <a:cubicBezTo>
                  <a:pt x="4432" y="1448"/>
                  <a:pt x="4449" y="1449"/>
                  <a:pt x="4449" y="1449"/>
                </a:cubicBezTo>
                <a:cubicBezTo>
                  <a:pt x="4449" y="1449"/>
                  <a:pt x="4462" y="1437"/>
                  <a:pt x="4472" y="1437"/>
                </a:cubicBezTo>
                <a:cubicBezTo>
                  <a:pt x="4482" y="1437"/>
                  <a:pt x="4483" y="1442"/>
                  <a:pt x="4500" y="1434"/>
                </a:cubicBezTo>
                <a:cubicBezTo>
                  <a:pt x="4500" y="1434"/>
                  <a:pt x="4565" y="1417"/>
                  <a:pt x="4559" y="1407"/>
                </a:cubicBezTo>
                <a:cubicBezTo>
                  <a:pt x="4553" y="1397"/>
                  <a:pt x="4534" y="1384"/>
                  <a:pt x="4534" y="1384"/>
                </a:cubicBezTo>
                <a:cubicBezTo>
                  <a:pt x="4534" y="1384"/>
                  <a:pt x="4558" y="1386"/>
                  <a:pt x="4558" y="1377"/>
                </a:cubicBezTo>
                <a:cubicBezTo>
                  <a:pt x="4558" y="1368"/>
                  <a:pt x="4554" y="1356"/>
                  <a:pt x="4554" y="1356"/>
                </a:cubicBezTo>
                <a:cubicBezTo>
                  <a:pt x="4554" y="1356"/>
                  <a:pt x="4582" y="1360"/>
                  <a:pt x="4576" y="1344"/>
                </a:cubicBezTo>
                <a:cubicBezTo>
                  <a:pt x="4570" y="1328"/>
                  <a:pt x="4547" y="1317"/>
                  <a:pt x="4540" y="1325"/>
                </a:cubicBezTo>
                <a:cubicBezTo>
                  <a:pt x="4533" y="1333"/>
                  <a:pt x="4534" y="1348"/>
                  <a:pt x="4519" y="1337"/>
                </a:cubicBezTo>
                <a:cubicBezTo>
                  <a:pt x="4504" y="1326"/>
                  <a:pt x="4528" y="1319"/>
                  <a:pt x="4528" y="1319"/>
                </a:cubicBezTo>
                <a:cubicBezTo>
                  <a:pt x="4525" y="1302"/>
                  <a:pt x="4525" y="1302"/>
                  <a:pt x="4525" y="1302"/>
                </a:cubicBezTo>
                <a:cubicBezTo>
                  <a:pt x="4505" y="1301"/>
                  <a:pt x="4505" y="1301"/>
                  <a:pt x="4505" y="1301"/>
                </a:cubicBezTo>
                <a:cubicBezTo>
                  <a:pt x="4505" y="1301"/>
                  <a:pt x="4459" y="1321"/>
                  <a:pt x="4456" y="1325"/>
                </a:cubicBezTo>
                <a:cubicBezTo>
                  <a:pt x="4453" y="1329"/>
                  <a:pt x="4417" y="1333"/>
                  <a:pt x="4417" y="1333"/>
                </a:cubicBezTo>
                <a:cubicBezTo>
                  <a:pt x="4396" y="1347"/>
                  <a:pt x="4396" y="1347"/>
                  <a:pt x="4396" y="1347"/>
                </a:cubicBezTo>
                <a:cubicBezTo>
                  <a:pt x="4404" y="1332"/>
                  <a:pt x="4404" y="1332"/>
                  <a:pt x="4404" y="1332"/>
                </a:cubicBezTo>
                <a:cubicBezTo>
                  <a:pt x="4389" y="1321"/>
                  <a:pt x="4389" y="1321"/>
                  <a:pt x="4389" y="1321"/>
                </a:cubicBezTo>
                <a:cubicBezTo>
                  <a:pt x="4412" y="1326"/>
                  <a:pt x="4412" y="1326"/>
                  <a:pt x="4412" y="1326"/>
                </a:cubicBezTo>
                <a:cubicBezTo>
                  <a:pt x="4422" y="1318"/>
                  <a:pt x="4422" y="1318"/>
                  <a:pt x="4422" y="1318"/>
                </a:cubicBezTo>
                <a:cubicBezTo>
                  <a:pt x="4440" y="1317"/>
                  <a:pt x="4440" y="1317"/>
                  <a:pt x="4440" y="1317"/>
                </a:cubicBezTo>
                <a:cubicBezTo>
                  <a:pt x="4442" y="1304"/>
                  <a:pt x="4442" y="1304"/>
                  <a:pt x="4442" y="1304"/>
                </a:cubicBezTo>
                <a:cubicBezTo>
                  <a:pt x="4442" y="1304"/>
                  <a:pt x="4463" y="1307"/>
                  <a:pt x="4475" y="1302"/>
                </a:cubicBezTo>
                <a:cubicBezTo>
                  <a:pt x="4487" y="1297"/>
                  <a:pt x="4504" y="1288"/>
                  <a:pt x="4504" y="1288"/>
                </a:cubicBezTo>
                <a:cubicBezTo>
                  <a:pt x="4504" y="1288"/>
                  <a:pt x="4552" y="1293"/>
                  <a:pt x="4551" y="1288"/>
                </a:cubicBezTo>
                <a:cubicBezTo>
                  <a:pt x="4550" y="1283"/>
                  <a:pt x="4532" y="1275"/>
                  <a:pt x="4532" y="1275"/>
                </a:cubicBezTo>
                <a:cubicBezTo>
                  <a:pt x="4531" y="1259"/>
                  <a:pt x="4531" y="1259"/>
                  <a:pt x="4531" y="1259"/>
                </a:cubicBezTo>
                <a:cubicBezTo>
                  <a:pt x="4531" y="1259"/>
                  <a:pt x="4503" y="1268"/>
                  <a:pt x="4497" y="1267"/>
                </a:cubicBezTo>
                <a:cubicBezTo>
                  <a:pt x="4491" y="1266"/>
                  <a:pt x="4489" y="1254"/>
                  <a:pt x="4489" y="1254"/>
                </a:cubicBezTo>
                <a:cubicBezTo>
                  <a:pt x="4449" y="1266"/>
                  <a:pt x="4449" y="1266"/>
                  <a:pt x="4449" y="1266"/>
                </a:cubicBezTo>
                <a:cubicBezTo>
                  <a:pt x="4451" y="1246"/>
                  <a:pt x="4451" y="1246"/>
                  <a:pt x="4451" y="1246"/>
                </a:cubicBezTo>
                <a:cubicBezTo>
                  <a:pt x="4422" y="1256"/>
                  <a:pt x="4422" y="1256"/>
                  <a:pt x="4422" y="1256"/>
                </a:cubicBezTo>
                <a:cubicBezTo>
                  <a:pt x="4422" y="1256"/>
                  <a:pt x="4453" y="1221"/>
                  <a:pt x="4445" y="1217"/>
                </a:cubicBezTo>
                <a:cubicBezTo>
                  <a:pt x="4437" y="1213"/>
                  <a:pt x="4412" y="1213"/>
                  <a:pt x="4412" y="1213"/>
                </a:cubicBezTo>
                <a:cubicBezTo>
                  <a:pt x="4415" y="1197"/>
                  <a:pt x="4415" y="1197"/>
                  <a:pt x="4415" y="1197"/>
                </a:cubicBezTo>
                <a:cubicBezTo>
                  <a:pt x="4393" y="1197"/>
                  <a:pt x="4393" y="1197"/>
                  <a:pt x="4393" y="1197"/>
                </a:cubicBezTo>
                <a:cubicBezTo>
                  <a:pt x="4402" y="1183"/>
                  <a:pt x="4402" y="1183"/>
                  <a:pt x="4402" y="1183"/>
                </a:cubicBezTo>
                <a:cubicBezTo>
                  <a:pt x="4384" y="1167"/>
                  <a:pt x="4384" y="1167"/>
                  <a:pt x="4384" y="1167"/>
                </a:cubicBezTo>
                <a:cubicBezTo>
                  <a:pt x="4384" y="1167"/>
                  <a:pt x="4414" y="1174"/>
                  <a:pt x="4422" y="1168"/>
                </a:cubicBezTo>
                <a:cubicBezTo>
                  <a:pt x="4430" y="1162"/>
                  <a:pt x="4441" y="1157"/>
                  <a:pt x="4441" y="1157"/>
                </a:cubicBezTo>
                <a:cubicBezTo>
                  <a:pt x="4411" y="1139"/>
                  <a:pt x="4411" y="1139"/>
                  <a:pt x="4411" y="1139"/>
                </a:cubicBezTo>
                <a:cubicBezTo>
                  <a:pt x="4444" y="1120"/>
                  <a:pt x="4444" y="1120"/>
                  <a:pt x="4444" y="1120"/>
                </a:cubicBezTo>
                <a:cubicBezTo>
                  <a:pt x="4411" y="1105"/>
                  <a:pt x="4411" y="1105"/>
                  <a:pt x="4411" y="1105"/>
                </a:cubicBezTo>
                <a:cubicBezTo>
                  <a:pt x="4381" y="1106"/>
                  <a:pt x="4381" y="1106"/>
                  <a:pt x="4381" y="1106"/>
                </a:cubicBezTo>
                <a:cubicBezTo>
                  <a:pt x="4417" y="1093"/>
                  <a:pt x="4417" y="1093"/>
                  <a:pt x="4417" y="1093"/>
                </a:cubicBezTo>
                <a:cubicBezTo>
                  <a:pt x="4392" y="1087"/>
                  <a:pt x="4392" y="1087"/>
                  <a:pt x="4392" y="1087"/>
                </a:cubicBezTo>
                <a:cubicBezTo>
                  <a:pt x="4422" y="1073"/>
                  <a:pt x="4422" y="1073"/>
                  <a:pt x="4422" y="1073"/>
                </a:cubicBezTo>
                <a:cubicBezTo>
                  <a:pt x="4417" y="1057"/>
                  <a:pt x="4417" y="1057"/>
                  <a:pt x="4417" y="1057"/>
                </a:cubicBezTo>
                <a:cubicBezTo>
                  <a:pt x="4395" y="1055"/>
                  <a:pt x="4395" y="1055"/>
                  <a:pt x="4395" y="1055"/>
                </a:cubicBezTo>
                <a:cubicBezTo>
                  <a:pt x="4395" y="1055"/>
                  <a:pt x="4413" y="1045"/>
                  <a:pt x="4405" y="1026"/>
                </a:cubicBezTo>
                <a:cubicBezTo>
                  <a:pt x="4397" y="1007"/>
                  <a:pt x="4389" y="1010"/>
                  <a:pt x="4389" y="1010"/>
                </a:cubicBezTo>
                <a:cubicBezTo>
                  <a:pt x="4398" y="996"/>
                  <a:pt x="4398" y="996"/>
                  <a:pt x="4398" y="996"/>
                </a:cubicBezTo>
                <a:cubicBezTo>
                  <a:pt x="4398" y="996"/>
                  <a:pt x="4374" y="1007"/>
                  <a:pt x="4369" y="1014"/>
                </a:cubicBezTo>
                <a:cubicBezTo>
                  <a:pt x="4364" y="1021"/>
                  <a:pt x="4368" y="1027"/>
                  <a:pt x="4368" y="1027"/>
                </a:cubicBezTo>
                <a:cubicBezTo>
                  <a:pt x="4349" y="1021"/>
                  <a:pt x="4349" y="1021"/>
                  <a:pt x="4349" y="1021"/>
                </a:cubicBezTo>
                <a:cubicBezTo>
                  <a:pt x="4353" y="1043"/>
                  <a:pt x="4353" y="1043"/>
                  <a:pt x="4353" y="1043"/>
                </a:cubicBezTo>
                <a:cubicBezTo>
                  <a:pt x="4335" y="1042"/>
                  <a:pt x="4335" y="1042"/>
                  <a:pt x="4335" y="1042"/>
                </a:cubicBezTo>
                <a:cubicBezTo>
                  <a:pt x="4327" y="1056"/>
                  <a:pt x="4327" y="1056"/>
                  <a:pt x="4327" y="1056"/>
                </a:cubicBezTo>
                <a:cubicBezTo>
                  <a:pt x="4332" y="1062"/>
                  <a:pt x="4332" y="1062"/>
                  <a:pt x="4332" y="1062"/>
                </a:cubicBezTo>
                <a:cubicBezTo>
                  <a:pt x="4316" y="1063"/>
                  <a:pt x="4316" y="1063"/>
                  <a:pt x="4316" y="1063"/>
                </a:cubicBezTo>
                <a:cubicBezTo>
                  <a:pt x="4301" y="1093"/>
                  <a:pt x="4301" y="1093"/>
                  <a:pt x="4301" y="1093"/>
                </a:cubicBezTo>
                <a:cubicBezTo>
                  <a:pt x="4293" y="1093"/>
                  <a:pt x="4293" y="1093"/>
                  <a:pt x="4293" y="1093"/>
                </a:cubicBezTo>
                <a:cubicBezTo>
                  <a:pt x="4303" y="1068"/>
                  <a:pt x="4303" y="1068"/>
                  <a:pt x="4303" y="1068"/>
                </a:cubicBezTo>
                <a:cubicBezTo>
                  <a:pt x="4303" y="1068"/>
                  <a:pt x="4293" y="1053"/>
                  <a:pt x="4284" y="1062"/>
                </a:cubicBezTo>
                <a:cubicBezTo>
                  <a:pt x="4275" y="1071"/>
                  <a:pt x="4263" y="1084"/>
                  <a:pt x="4256" y="1085"/>
                </a:cubicBezTo>
                <a:cubicBezTo>
                  <a:pt x="4249" y="1086"/>
                  <a:pt x="4221" y="1107"/>
                  <a:pt x="4221" y="1107"/>
                </a:cubicBezTo>
                <a:cubicBezTo>
                  <a:pt x="4226" y="1092"/>
                  <a:pt x="4226" y="1092"/>
                  <a:pt x="4226" y="1092"/>
                </a:cubicBezTo>
                <a:cubicBezTo>
                  <a:pt x="4225" y="1081"/>
                  <a:pt x="4225" y="1081"/>
                  <a:pt x="4225" y="1081"/>
                </a:cubicBezTo>
                <a:cubicBezTo>
                  <a:pt x="4200" y="1102"/>
                  <a:pt x="4200" y="1102"/>
                  <a:pt x="4200" y="1102"/>
                </a:cubicBezTo>
                <a:cubicBezTo>
                  <a:pt x="4156" y="1112"/>
                  <a:pt x="4156" y="1112"/>
                  <a:pt x="4156" y="1112"/>
                </a:cubicBezTo>
                <a:cubicBezTo>
                  <a:pt x="4197" y="1098"/>
                  <a:pt x="4197" y="1098"/>
                  <a:pt x="4197" y="1098"/>
                </a:cubicBezTo>
                <a:cubicBezTo>
                  <a:pt x="4197" y="1098"/>
                  <a:pt x="4221" y="1071"/>
                  <a:pt x="4208" y="1065"/>
                </a:cubicBezTo>
                <a:cubicBezTo>
                  <a:pt x="4195" y="1059"/>
                  <a:pt x="4180" y="1065"/>
                  <a:pt x="4180" y="1065"/>
                </a:cubicBezTo>
                <a:cubicBezTo>
                  <a:pt x="4180" y="1065"/>
                  <a:pt x="4147" y="1080"/>
                  <a:pt x="4149" y="1069"/>
                </a:cubicBezTo>
                <a:cubicBezTo>
                  <a:pt x="4151" y="1058"/>
                  <a:pt x="4168" y="1055"/>
                  <a:pt x="4168" y="1055"/>
                </a:cubicBezTo>
                <a:cubicBezTo>
                  <a:pt x="4167" y="1062"/>
                  <a:pt x="4167" y="1062"/>
                  <a:pt x="4167" y="1062"/>
                </a:cubicBezTo>
                <a:cubicBezTo>
                  <a:pt x="4181" y="1057"/>
                  <a:pt x="4181" y="1057"/>
                  <a:pt x="4181" y="1057"/>
                </a:cubicBezTo>
                <a:cubicBezTo>
                  <a:pt x="4178" y="1038"/>
                  <a:pt x="4178" y="1038"/>
                  <a:pt x="4178" y="1038"/>
                </a:cubicBezTo>
                <a:cubicBezTo>
                  <a:pt x="4178" y="1038"/>
                  <a:pt x="4203" y="1024"/>
                  <a:pt x="4194" y="1017"/>
                </a:cubicBezTo>
                <a:cubicBezTo>
                  <a:pt x="4185" y="1010"/>
                  <a:pt x="4158" y="1006"/>
                  <a:pt x="4158" y="1006"/>
                </a:cubicBezTo>
                <a:cubicBezTo>
                  <a:pt x="4158" y="1006"/>
                  <a:pt x="4203" y="1008"/>
                  <a:pt x="4206" y="996"/>
                </a:cubicBezTo>
                <a:cubicBezTo>
                  <a:pt x="4209" y="984"/>
                  <a:pt x="4212" y="981"/>
                  <a:pt x="4218" y="977"/>
                </a:cubicBezTo>
                <a:cubicBezTo>
                  <a:pt x="4224" y="973"/>
                  <a:pt x="4244" y="972"/>
                  <a:pt x="4234" y="963"/>
                </a:cubicBezTo>
                <a:cubicBezTo>
                  <a:pt x="4224" y="954"/>
                  <a:pt x="4214" y="970"/>
                  <a:pt x="4214" y="970"/>
                </a:cubicBezTo>
                <a:cubicBezTo>
                  <a:pt x="4208" y="953"/>
                  <a:pt x="4208" y="953"/>
                  <a:pt x="4208" y="953"/>
                </a:cubicBezTo>
                <a:cubicBezTo>
                  <a:pt x="4208" y="953"/>
                  <a:pt x="4177" y="954"/>
                  <a:pt x="4168" y="954"/>
                </a:cubicBezTo>
                <a:cubicBezTo>
                  <a:pt x="4159" y="954"/>
                  <a:pt x="4157" y="939"/>
                  <a:pt x="4165" y="936"/>
                </a:cubicBezTo>
                <a:cubicBezTo>
                  <a:pt x="4173" y="933"/>
                  <a:pt x="4174" y="926"/>
                  <a:pt x="4167" y="924"/>
                </a:cubicBezTo>
                <a:cubicBezTo>
                  <a:pt x="4160" y="922"/>
                  <a:pt x="4154" y="929"/>
                  <a:pt x="4154" y="929"/>
                </a:cubicBezTo>
                <a:cubicBezTo>
                  <a:pt x="4159" y="913"/>
                  <a:pt x="4159" y="913"/>
                  <a:pt x="4159" y="913"/>
                </a:cubicBezTo>
                <a:cubicBezTo>
                  <a:pt x="4135" y="917"/>
                  <a:pt x="4135" y="917"/>
                  <a:pt x="4135" y="917"/>
                </a:cubicBezTo>
                <a:cubicBezTo>
                  <a:pt x="4135" y="917"/>
                  <a:pt x="4139" y="888"/>
                  <a:pt x="4122" y="888"/>
                </a:cubicBezTo>
                <a:cubicBezTo>
                  <a:pt x="4105" y="888"/>
                  <a:pt x="4077" y="905"/>
                  <a:pt x="4077" y="905"/>
                </a:cubicBezTo>
                <a:cubicBezTo>
                  <a:pt x="4077" y="905"/>
                  <a:pt x="4069" y="894"/>
                  <a:pt x="4061" y="894"/>
                </a:cubicBezTo>
                <a:cubicBezTo>
                  <a:pt x="4053" y="894"/>
                  <a:pt x="4036" y="903"/>
                  <a:pt x="4036" y="903"/>
                </a:cubicBezTo>
                <a:cubicBezTo>
                  <a:pt x="4036" y="903"/>
                  <a:pt x="3990" y="881"/>
                  <a:pt x="3974" y="884"/>
                </a:cubicBezTo>
                <a:cubicBezTo>
                  <a:pt x="3958" y="887"/>
                  <a:pt x="3952" y="899"/>
                  <a:pt x="3952" y="899"/>
                </a:cubicBezTo>
                <a:cubicBezTo>
                  <a:pt x="3952" y="899"/>
                  <a:pt x="3931" y="909"/>
                  <a:pt x="3938" y="917"/>
                </a:cubicBezTo>
                <a:cubicBezTo>
                  <a:pt x="3945" y="925"/>
                  <a:pt x="3958" y="926"/>
                  <a:pt x="3952" y="934"/>
                </a:cubicBezTo>
                <a:cubicBezTo>
                  <a:pt x="3946" y="942"/>
                  <a:pt x="3921" y="958"/>
                  <a:pt x="3921" y="958"/>
                </a:cubicBezTo>
                <a:cubicBezTo>
                  <a:pt x="3903" y="965"/>
                  <a:pt x="3903" y="965"/>
                  <a:pt x="3903" y="965"/>
                </a:cubicBezTo>
                <a:cubicBezTo>
                  <a:pt x="3920" y="974"/>
                  <a:pt x="3920" y="974"/>
                  <a:pt x="3920" y="974"/>
                </a:cubicBezTo>
                <a:cubicBezTo>
                  <a:pt x="3920" y="974"/>
                  <a:pt x="3905" y="981"/>
                  <a:pt x="3904" y="990"/>
                </a:cubicBezTo>
                <a:cubicBezTo>
                  <a:pt x="3903" y="999"/>
                  <a:pt x="3911" y="1006"/>
                  <a:pt x="3903" y="1016"/>
                </a:cubicBezTo>
                <a:cubicBezTo>
                  <a:pt x="3895" y="1026"/>
                  <a:pt x="3888" y="1018"/>
                  <a:pt x="3875" y="1026"/>
                </a:cubicBezTo>
                <a:cubicBezTo>
                  <a:pt x="3862" y="1034"/>
                  <a:pt x="3864" y="1047"/>
                  <a:pt x="3864" y="1047"/>
                </a:cubicBezTo>
                <a:cubicBezTo>
                  <a:pt x="3864" y="1047"/>
                  <a:pt x="3848" y="1050"/>
                  <a:pt x="3842" y="1056"/>
                </a:cubicBezTo>
                <a:cubicBezTo>
                  <a:pt x="3836" y="1062"/>
                  <a:pt x="3816" y="1067"/>
                  <a:pt x="3818" y="1075"/>
                </a:cubicBezTo>
                <a:cubicBezTo>
                  <a:pt x="3820" y="1083"/>
                  <a:pt x="3857" y="1097"/>
                  <a:pt x="3857" y="1106"/>
                </a:cubicBezTo>
                <a:cubicBezTo>
                  <a:pt x="3857" y="1115"/>
                  <a:pt x="3856" y="1180"/>
                  <a:pt x="3821" y="1200"/>
                </a:cubicBezTo>
                <a:cubicBezTo>
                  <a:pt x="3786" y="1220"/>
                  <a:pt x="3741" y="1255"/>
                  <a:pt x="3723" y="1256"/>
                </a:cubicBezTo>
                <a:cubicBezTo>
                  <a:pt x="3705" y="1257"/>
                  <a:pt x="3656" y="1260"/>
                  <a:pt x="3653" y="1269"/>
                </a:cubicBezTo>
                <a:cubicBezTo>
                  <a:pt x="3650" y="1278"/>
                  <a:pt x="3662" y="1306"/>
                  <a:pt x="3662" y="1311"/>
                </a:cubicBezTo>
                <a:cubicBezTo>
                  <a:pt x="3662" y="1316"/>
                  <a:pt x="3641" y="1337"/>
                  <a:pt x="3637" y="1352"/>
                </a:cubicBezTo>
                <a:cubicBezTo>
                  <a:pt x="3633" y="1367"/>
                  <a:pt x="3636" y="1400"/>
                  <a:pt x="3636" y="1400"/>
                </a:cubicBezTo>
                <a:cubicBezTo>
                  <a:pt x="3636" y="1400"/>
                  <a:pt x="3602" y="1417"/>
                  <a:pt x="3601" y="1422"/>
                </a:cubicBezTo>
                <a:cubicBezTo>
                  <a:pt x="3600" y="1427"/>
                  <a:pt x="3599" y="1444"/>
                  <a:pt x="3599" y="1444"/>
                </a:cubicBezTo>
                <a:cubicBezTo>
                  <a:pt x="3586" y="1460"/>
                  <a:pt x="3586" y="1460"/>
                  <a:pt x="3586" y="1460"/>
                </a:cubicBezTo>
                <a:cubicBezTo>
                  <a:pt x="3586" y="1460"/>
                  <a:pt x="3593" y="1436"/>
                  <a:pt x="3582" y="1435"/>
                </a:cubicBezTo>
                <a:cubicBezTo>
                  <a:pt x="3571" y="1434"/>
                  <a:pt x="3549" y="1448"/>
                  <a:pt x="3554" y="1459"/>
                </a:cubicBezTo>
                <a:cubicBezTo>
                  <a:pt x="3559" y="1470"/>
                  <a:pt x="3553" y="1479"/>
                  <a:pt x="3553" y="1479"/>
                </a:cubicBezTo>
                <a:cubicBezTo>
                  <a:pt x="3553" y="1479"/>
                  <a:pt x="3551" y="1459"/>
                  <a:pt x="3545" y="1454"/>
                </a:cubicBezTo>
                <a:cubicBezTo>
                  <a:pt x="3539" y="1449"/>
                  <a:pt x="3501" y="1460"/>
                  <a:pt x="3501" y="1460"/>
                </a:cubicBezTo>
                <a:cubicBezTo>
                  <a:pt x="3501" y="1460"/>
                  <a:pt x="3537" y="1439"/>
                  <a:pt x="3533" y="1426"/>
                </a:cubicBezTo>
                <a:cubicBezTo>
                  <a:pt x="3529" y="1413"/>
                  <a:pt x="3493" y="1402"/>
                  <a:pt x="3493" y="1402"/>
                </a:cubicBezTo>
                <a:cubicBezTo>
                  <a:pt x="3493" y="1402"/>
                  <a:pt x="3510" y="1399"/>
                  <a:pt x="3510" y="1392"/>
                </a:cubicBezTo>
                <a:cubicBezTo>
                  <a:pt x="3510" y="1385"/>
                  <a:pt x="3498" y="1359"/>
                  <a:pt x="3498" y="1359"/>
                </a:cubicBezTo>
                <a:cubicBezTo>
                  <a:pt x="3520" y="1344"/>
                  <a:pt x="3520" y="1344"/>
                  <a:pt x="3520" y="1344"/>
                </a:cubicBezTo>
                <a:cubicBezTo>
                  <a:pt x="3519" y="1329"/>
                  <a:pt x="3519" y="1329"/>
                  <a:pt x="3519" y="1329"/>
                </a:cubicBezTo>
                <a:cubicBezTo>
                  <a:pt x="3536" y="1318"/>
                  <a:pt x="3536" y="1318"/>
                  <a:pt x="3536" y="1318"/>
                </a:cubicBezTo>
                <a:cubicBezTo>
                  <a:pt x="3535" y="1293"/>
                  <a:pt x="3535" y="1293"/>
                  <a:pt x="3535" y="1293"/>
                </a:cubicBezTo>
                <a:cubicBezTo>
                  <a:pt x="3535" y="1293"/>
                  <a:pt x="3584" y="1266"/>
                  <a:pt x="3560" y="1254"/>
                </a:cubicBezTo>
                <a:cubicBezTo>
                  <a:pt x="3536" y="1242"/>
                  <a:pt x="3464" y="1246"/>
                  <a:pt x="3464" y="1246"/>
                </a:cubicBezTo>
                <a:cubicBezTo>
                  <a:pt x="3440" y="1254"/>
                  <a:pt x="3440" y="1254"/>
                  <a:pt x="3440" y="1254"/>
                </a:cubicBezTo>
                <a:cubicBezTo>
                  <a:pt x="3440" y="1254"/>
                  <a:pt x="3458" y="1233"/>
                  <a:pt x="3448" y="1228"/>
                </a:cubicBezTo>
                <a:cubicBezTo>
                  <a:pt x="3438" y="1223"/>
                  <a:pt x="3390" y="1213"/>
                  <a:pt x="3390" y="1213"/>
                </a:cubicBezTo>
                <a:cubicBezTo>
                  <a:pt x="3390" y="1213"/>
                  <a:pt x="3395" y="1191"/>
                  <a:pt x="3376" y="1177"/>
                </a:cubicBezTo>
                <a:cubicBezTo>
                  <a:pt x="3357" y="1163"/>
                  <a:pt x="3332" y="1162"/>
                  <a:pt x="3332" y="1162"/>
                </a:cubicBezTo>
                <a:cubicBezTo>
                  <a:pt x="3332" y="1162"/>
                  <a:pt x="3333" y="1150"/>
                  <a:pt x="3305" y="1149"/>
                </a:cubicBezTo>
                <a:cubicBezTo>
                  <a:pt x="3277" y="1148"/>
                  <a:pt x="3208" y="1160"/>
                  <a:pt x="3208" y="1160"/>
                </a:cubicBezTo>
                <a:cubicBezTo>
                  <a:pt x="3208" y="1160"/>
                  <a:pt x="3241" y="1150"/>
                  <a:pt x="3242" y="1138"/>
                </a:cubicBezTo>
                <a:cubicBezTo>
                  <a:pt x="3243" y="1126"/>
                  <a:pt x="3261" y="1074"/>
                  <a:pt x="3261" y="1074"/>
                </a:cubicBezTo>
                <a:cubicBezTo>
                  <a:pt x="3261" y="1074"/>
                  <a:pt x="3231" y="1068"/>
                  <a:pt x="3228" y="1070"/>
                </a:cubicBezTo>
                <a:cubicBezTo>
                  <a:pt x="3225" y="1072"/>
                  <a:pt x="3202" y="1088"/>
                  <a:pt x="3202" y="1088"/>
                </a:cubicBezTo>
                <a:cubicBezTo>
                  <a:pt x="3212" y="1069"/>
                  <a:pt x="3212" y="1069"/>
                  <a:pt x="3212" y="1069"/>
                </a:cubicBezTo>
                <a:cubicBezTo>
                  <a:pt x="3208" y="1054"/>
                  <a:pt x="3208" y="1054"/>
                  <a:pt x="3208" y="1054"/>
                </a:cubicBezTo>
                <a:cubicBezTo>
                  <a:pt x="3208" y="1054"/>
                  <a:pt x="3234" y="1032"/>
                  <a:pt x="3246" y="1011"/>
                </a:cubicBezTo>
                <a:cubicBezTo>
                  <a:pt x="3258" y="990"/>
                  <a:pt x="3326" y="953"/>
                  <a:pt x="3326" y="953"/>
                </a:cubicBezTo>
                <a:cubicBezTo>
                  <a:pt x="3320" y="942"/>
                  <a:pt x="3320" y="942"/>
                  <a:pt x="3320" y="942"/>
                </a:cubicBezTo>
                <a:cubicBezTo>
                  <a:pt x="3363" y="928"/>
                  <a:pt x="3363" y="928"/>
                  <a:pt x="3363" y="928"/>
                </a:cubicBezTo>
                <a:cubicBezTo>
                  <a:pt x="3364" y="917"/>
                  <a:pt x="3364" y="917"/>
                  <a:pt x="3364" y="917"/>
                </a:cubicBezTo>
                <a:cubicBezTo>
                  <a:pt x="3391" y="913"/>
                  <a:pt x="3391" y="913"/>
                  <a:pt x="3391" y="913"/>
                </a:cubicBezTo>
                <a:cubicBezTo>
                  <a:pt x="3393" y="900"/>
                  <a:pt x="3393" y="900"/>
                  <a:pt x="3393" y="900"/>
                </a:cubicBezTo>
                <a:cubicBezTo>
                  <a:pt x="3414" y="897"/>
                  <a:pt x="3414" y="897"/>
                  <a:pt x="3414" y="897"/>
                </a:cubicBezTo>
                <a:cubicBezTo>
                  <a:pt x="3448" y="870"/>
                  <a:pt x="3448" y="870"/>
                  <a:pt x="3448" y="870"/>
                </a:cubicBezTo>
                <a:cubicBezTo>
                  <a:pt x="3448" y="870"/>
                  <a:pt x="3522" y="873"/>
                  <a:pt x="3522" y="860"/>
                </a:cubicBezTo>
                <a:cubicBezTo>
                  <a:pt x="3522" y="847"/>
                  <a:pt x="3502" y="832"/>
                  <a:pt x="3502" y="832"/>
                </a:cubicBezTo>
                <a:cubicBezTo>
                  <a:pt x="3462" y="837"/>
                  <a:pt x="3462" y="837"/>
                  <a:pt x="3462" y="837"/>
                </a:cubicBezTo>
                <a:cubicBezTo>
                  <a:pt x="3468" y="827"/>
                  <a:pt x="3468" y="827"/>
                  <a:pt x="3468" y="827"/>
                </a:cubicBezTo>
                <a:cubicBezTo>
                  <a:pt x="3432" y="813"/>
                  <a:pt x="3432" y="813"/>
                  <a:pt x="3432" y="813"/>
                </a:cubicBezTo>
                <a:cubicBezTo>
                  <a:pt x="3448" y="808"/>
                  <a:pt x="3448" y="808"/>
                  <a:pt x="3448" y="808"/>
                </a:cubicBezTo>
                <a:cubicBezTo>
                  <a:pt x="3503" y="824"/>
                  <a:pt x="3503" y="824"/>
                  <a:pt x="3503" y="824"/>
                </a:cubicBezTo>
                <a:cubicBezTo>
                  <a:pt x="3503" y="824"/>
                  <a:pt x="3524" y="846"/>
                  <a:pt x="3543" y="838"/>
                </a:cubicBezTo>
                <a:cubicBezTo>
                  <a:pt x="3562" y="830"/>
                  <a:pt x="3578" y="797"/>
                  <a:pt x="3585" y="802"/>
                </a:cubicBezTo>
                <a:cubicBezTo>
                  <a:pt x="3592" y="807"/>
                  <a:pt x="3613" y="817"/>
                  <a:pt x="3622" y="815"/>
                </a:cubicBezTo>
                <a:cubicBezTo>
                  <a:pt x="3622" y="815"/>
                  <a:pt x="3667" y="796"/>
                  <a:pt x="3685" y="789"/>
                </a:cubicBezTo>
                <a:cubicBezTo>
                  <a:pt x="3703" y="782"/>
                  <a:pt x="3737" y="763"/>
                  <a:pt x="3725" y="760"/>
                </a:cubicBezTo>
                <a:cubicBezTo>
                  <a:pt x="3713" y="757"/>
                  <a:pt x="3657" y="757"/>
                  <a:pt x="3657" y="757"/>
                </a:cubicBezTo>
                <a:cubicBezTo>
                  <a:pt x="3653" y="741"/>
                  <a:pt x="3653" y="741"/>
                  <a:pt x="3653" y="741"/>
                </a:cubicBezTo>
                <a:cubicBezTo>
                  <a:pt x="3597" y="721"/>
                  <a:pt x="3597" y="721"/>
                  <a:pt x="3597" y="721"/>
                </a:cubicBezTo>
                <a:cubicBezTo>
                  <a:pt x="3597" y="721"/>
                  <a:pt x="3653" y="713"/>
                  <a:pt x="3668" y="719"/>
                </a:cubicBezTo>
                <a:cubicBezTo>
                  <a:pt x="3683" y="725"/>
                  <a:pt x="3697" y="751"/>
                  <a:pt x="3712" y="751"/>
                </a:cubicBezTo>
                <a:cubicBezTo>
                  <a:pt x="3727" y="751"/>
                  <a:pt x="3806" y="713"/>
                  <a:pt x="3806" y="713"/>
                </a:cubicBezTo>
                <a:cubicBezTo>
                  <a:pt x="3787" y="705"/>
                  <a:pt x="3787" y="705"/>
                  <a:pt x="3787" y="705"/>
                </a:cubicBezTo>
                <a:cubicBezTo>
                  <a:pt x="3787" y="705"/>
                  <a:pt x="3801" y="693"/>
                  <a:pt x="3819" y="693"/>
                </a:cubicBezTo>
                <a:cubicBezTo>
                  <a:pt x="3837" y="693"/>
                  <a:pt x="3842" y="707"/>
                  <a:pt x="3842" y="707"/>
                </a:cubicBezTo>
                <a:cubicBezTo>
                  <a:pt x="3862" y="714"/>
                  <a:pt x="3862" y="714"/>
                  <a:pt x="3862" y="714"/>
                </a:cubicBezTo>
                <a:cubicBezTo>
                  <a:pt x="3863" y="701"/>
                  <a:pt x="3863" y="701"/>
                  <a:pt x="3863" y="701"/>
                </a:cubicBezTo>
                <a:cubicBezTo>
                  <a:pt x="3863" y="701"/>
                  <a:pt x="3877" y="718"/>
                  <a:pt x="3882" y="709"/>
                </a:cubicBezTo>
                <a:cubicBezTo>
                  <a:pt x="3887" y="700"/>
                  <a:pt x="3870" y="682"/>
                  <a:pt x="3870" y="682"/>
                </a:cubicBezTo>
                <a:cubicBezTo>
                  <a:pt x="3856" y="676"/>
                  <a:pt x="3856" y="676"/>
                  <a:pt x="3856" y="676"/>
                </a:cubicBezTo>
                <a:cubicBezTo>
                  <a:pt x="3883" y="671"/>
                  <a:pt x="3883" y="671"/>
                  <a:pt x="3883" y="671"/>
                </a:cubicBezTo>
                <a:cubicBezTo>
                  <a:pt x="3883" y="671"/>
                  <a:pt x="3897" y="710"/>
                  <a:pt x="3906" y="708"/>
                </a:cubicBezTo>
                <a:cubicBezTo>
                  <a:pt x="3915" y="706"/>
                  <a:pt x="4028" y="673"/>
                  <a:pt x="4014" y="654"/>
                </a:cubicBezTo>
                <a:cubicBezTo>
                  <a:pt x="4000" y="635"/>
                  <a:pt x="3989" y="620"/>
                  <a:pt x="4000" y="613"/>
                </a:cubicBezTo>
                <a:cubicBezTo>
                  <a:pt x="4011" y="606"/>
                  <a:pt x="4061" y="604"/>
                  <a:pt x="4062" y="598"/>
                </a:cubicBezTo>
                <a:cubicBezTo>
                  <a:pt x="4063" y="592"/>
                  <a:pt x="4052" y="566"/>
                  <a:pt x="4052" y="566"/>
                </a:cubicBezTo>
                <a:cubicBezTo>
                  <a:pt x="4040" y="551"/>
                  <a:pt x="4040" y="551"/>
                  <a:pt x="4040" y="551"/>
                </a:cubicBezTo>
                <a:cubicBezTo>
                  <a:pt x="4040" y="551"/>
                  <a:pt x="3978" y="533"/>
                  <a:pt x="3952" y="551"/>
                </a:cubicBezTo>
                <a:cubicBezTo>
                  <a:pt x="3926" y="569"/>
                  <a:pt x="3948" y="581"/>
                  <a:pt x="3948" y="581"/>
                </a:cubicBezTo>
                <a:cubicBezTo>
                  <a:pt x="3924" y="596"/>
                  <a:pt x="3924" y="596"/>
                  <a:pt x="3924" y="596"/>
                </a:cubicBezTo>
                <a:cubicBezTo>
                  <a:pt x="3910" y="596"/>
                  <a:pt x="3910" y="596"/>
                  <a:pt x="3910" y="596"/>
                </a:cubicBezTo>
                <a:cubicBezTo>
                  <a:pt x="3865" y="627"/>
                  <a:pt x="3865" y="627"/>
                  <a:pt x="3865" y="627"/>
                </a:cubicBezTo>
                <a:cubicBezTo>
                  <a:pt x="3848" y="634"/>
                  <a:pt x="3848" y="634"/>
                  <a:pt x="3848" y="634"/>
                </a:cubicBezTo>
                <a:cubicBezTo>
                  <a:pt x="3848" y="634"/>
                  <a:pt x="3836" y="652"/>
                  <a:pt x="3832" y="655"/>
                </a:cubicBezTo>
                <a:cubicBezTo>
                  <a:pt x="3828" y="658"/>
                  <a:pt x="3809" y="659"/>
                  <a:pt x="3809" y="659"/>
                </a:cubicBezTo>
                <a:cubicBezTo>
                  <a:pt x="3786" y="671"/>
                  <a:pt x="3786" y="671"/>
                  <a:pt x="3786" y="671"/>
                </a:cubicBezTo>
                <a:cubicBezTo>
                  <a:pt x="3786" y="671"/>
                  <a:pt x="3775" y="637"/>
                  <a:pt x="3781" y="626"/>
                </a:cubicBezTo>
                <a:cubicBezTo>
                  <a:pt x="3787" y="615"/>
                  <a:pt x="3818" y="620"/>
                  <a:pt x="3823" y="604"/>
                </a:cubicBezTo>
                <a:cubicBezTo>
                  <a:pt x="3828" y="588"/>
                  <a:pt x="3812" y="571"/>
                  <a:pt x="3809" y="571"/>
                </a:cubicBezTo>
                <a:cubicBezTo>
                  <a:pt x="3806" y="571"/>
                  <a:pt x="3753" y="595"/>
                  <a:pt x="3753" y="595"/>
                </a:cubicBezTo>
                <a:cubicBezTo>
                  <a:pt x="3734" y="616"/>
                  <a:pt x="3734" y="616"/>
                  <a:pt x="3734" y="616"/>
                </a:cubicBezTo>
                <a:cubicBezTo>
                  <a:pt x="3728" y="607"/>
                  <a:pt x="3728" y="607"/>
                  <a:pt x="3728" y="607"/>
                </a:cubicBezTo>
                <a:cubicBezTo>
                  <a:pt x="3746" y="589"/>
                  <a:pt x="3746" y="589"/>
                  <a:pt x="3746" y="589"/>
                </a:cubicBezTo>
                <a:cubicBezTo>
                  <a:pt x="3744" y="576"/>
                  <a:pt x="3744" y="576"/>
                  <a:pt x="3744" y="576"/>
                </a:cubicBezTo>
                <a:cubicBezTo>
                  <a:pt x="3774" y="565"/>
                  <a:pt x="3774" y="565"/>
                  <a:pt x="3774" y="565"/>
                </a:cubicBezTo>
                <a:cubicBezTo>
                  <a:pt x="3747" y="560"/>
                  <a:pt x="3747" y="560"/>
                  <a:pt x="3747" y="560"/>
                </a:cubicBezTo>
                <a:cubicBezTo>
                  <a:pt x="3752" y="550"/>
                  <a:pt x="3752" y="550"/>
                  <a:pt x="3752" y="550"/>
                </a:cubicBezTo>
                <a:cubicBezTo>
                  <a:pt x="3720" y="560"/>
                  <a:pt x="3720" y="560"/>
                  <a:pt x="3720" y="560"/>
                </a:cubicBezTo>
                <a:cubicBezTo>
                  <a:pt x="3706" y="552"/>
                  <a:pt x="3706" y="552"/>
                  <a:pt x="3706" y="552"/>
                </a:cubicBezTo>
                <a:cubicBezTo>
                  <a:pt x="3731" y="543"/>
                  <a:pt x="3731" y="543"/>
                  <a:pt x="3731" y="543"/>
                </a:cubicBezTo>
                <a:cubicBezTo>
                  <a:pt x="3732" y="533"/>
                  <a:pt x="3732" y="533"/>
                  <a:pt x="3732" y="533"/>
                </a:cubicBezTo>
                <a:cubicBezTo>
                  <a:pt x="3732" y="533"/>
                  <a:pt x="3768" y="541"/>
                  <a:pt x="3766" y="528"/>
                </a:cubicBezTo>
                <a:cubicBezTo>
                  <a:pt x="3764" y="515"/>
                  <a:pt x="3736" y="518"/>
                  <a:pt x="3748" y="501"/>
                </a:cubicBezTo>
                <a:cubicBezTo>
                  <a:pt x="3760" y="484"/>
                  <a:pt x="3771" y="459"/>
                  <a:pt x="3755" y="458"/>
                </a:cubicBezTo>
                <a:cubicBezTo>
                  <a:pt x="3730" y="448"/>
                  <a:pt x="3730" y="448"/>
                  <a:pt x="3730" y="448"/>
                </a:cubicBezTo>
                <a:cubicBezTo>
                  <a:pt x="3711" y="456"/>
                  <a:pt x="3711" y="456"/>
                  <a:pt x="3711" y="456"/>
                </a:cubicBezTo>
                <a:cubicBezTo>
                  <a:pt x="3711" y="456"/>
                  <a:pt x="3684" y="458"/>
                  <a:pt x="3683" y="462"/>
                </a:cubicBezTo>
                <a:cubicBezTo>
                  <a:pt x="3682" y="466"/>
                  <a:pt x="3690" y="475"/>
                  <a:pt x="3684" y="476"/>
                </a:cubicBezTo>
                <a:cubicBezTo>
                  <a:pt x="3678" y="477"/>
                  <a:pt x="3642" y="470"/>
                  <a:pt x="3634" y="479"/>
                </a:cubicBezTo>
                <a:cubicBezTo>
                  <a:pt x="3626" y="488"/>
                  <a:pt x="3609" y="497"/>
                  <a:pt x="3618" y="501"/>
                </a:cubicBezTo>
                <a:cubicBezTo>
                  <a:pt x="3627" y="505"/>
                  <a:pt x="3638" y="507"/>
                  <a:pt x="3638" y="507"/>
                </a:cubicBezTo>
                <a:cubicBezTo>
                  <a:pt x="3638" y="507"/>
                  <a:pt x="3589" y="520"/>
                  <a:pt x="3591" y="533"/>
                </a:cubicBezTo>
                <a:cubicBezTo>
                  <a:pt x="3593" y="546"/>
                  <a:pt x="3620" y="556"/>
                  <a:pt x="3620" y="556"/>
                </a:cubicBezTo>
                <a:cubicBezTo>
                  <a:pt x="3636" y="549"/>
                  <a:pt x="3636" y="549"/>
                  <a:pt x="3636" y="549"/>
                </a:cubicBezTo>
                <a:cubicBezTo>
                  <a:pt x="3636" y="549"/>
                  <a:pt x="3635" y="570"/>
                  <a:pt x="3641" y="567"/>
                </a:cubicBezTo>
                <a:cubicBezTo>
                  <a:pt x="3647" y="564"/>
                  <a:pt x="3676" y="559"/>
                  <a:pt x="3665" y="567"/>
                </a:cubicBezTo>
                <a:cubicBezTo>
                  <a:pt x="3654" y="575"/>
                  <a:pt x="3645" y="574"/>
                  <a:pt x="3645" y="574"/>
                </a:cubicBezTo>
                <a:cubicBezTo>
                  <a:pt x="3632" y="569"/>
                  <a:pt x="3632" y="569"/>
                  <a:pt x="3632" y="569"/>
                </a:cubicBezTo>
                <a:cubicBezTo>
                  <a:pt x="3630" y="578"/>
                  <a:pt x="3630" y="578"/>
                  <a:pt x="3630" y="578"/>
                </a:cubicBezTo>
                <a:cubicBezTo>
                  <a:pt x="3630" y="578"/>
                  <a:pt x="3594" y="584"/>
                  <a:pt x="3606" y="588"/>
                </a:cubicBezTo>
                <a:cubicBezTo>
                  <a:pt x="3618" y="592"/>
                  <a:pt x="3645" y="572"/>
                  <a:pt x="3639" y="585"/>
                </a:cubicBezTo>
                <a:cubicBezTo>
                  <a:pt x="3633" y="598"/>
                  <a:pt x="3614" y="607"/>
                  <a:pt x="3601" y="611"/>
                </a:cubicBezTo>
                <a:cubicBezTo>
                  <a:pt x="3588" y="615"/>
                  <a:pt x="3568" y="630"/>
                  <a:pt x="3568" y="630"/>
                </a:cubicBezTo>
                <a:cubicBezTo>
                  <a:pt x="3568" y="630"/>
                  <a:pt x="3546" y="618"/>
                  <a:pt x="3542" y="625"/>
                </a:cubicBezTo>
                <a:cubicBezTo>
                  <a:pt x="3538" y="632"/>
                  <a:pt x="3517" y="638"/>
                  <a:pt x="3518" y="648"/>
                </a:cubicBezTo>
                <a:cubicBezTo>
                  <a:pt x="3519" y="658"/>
                  <a:pt x="3512" y="667"/>
                  <a:pt x="3512" y="667"/>
                </a:cubicBezTo>
                <a:cubicBezTo>
                  <a:pt x="3508" y="658"/>
                  <a:pt x="3508" y="658"/>
                  <a:pt x="3508" y="658"/>
                </a:cubicBezTo>
                <a:cubicBezTo>
                  <a:pt x="3508" y="658"/>
                  <a:pt x="3483" y="657"/>
                  <a:pt x="3485" y="651"/>
                </a:cubicBezTo>
                <a:cubicBezTo>
                  <a:pt x="3487" y="645"/>
                  <a:pt x="3529" y="617"/>
                  <a:pt x="3529" y="617"/>
                </a:cubicBezTo>
                <a:cubicBezTo>
                  <a:pt x="3504" y="617"/>
                  <a:pt x="3504" y="617"/>
                  <a:pt x="3504" y="617"/>
                </a:cubicBezTo>
                <a:cubicBezTo>
                  <a:pt x="3504" y="617"/>
                  <a:pt x="3497" y="603"/>
                  <a:pt x="3490" y="603"/>
                </a:cubicBezTo>
                <a:cubicBezTo>
                  <a:pt x="3483" y="603"/>
                  <a:pt x="3467" y="609"/>
                  <a:pt x="3467" y="609"/>
                </a:cubicBezTo>
                <a:cubicBezTo>
                  <a:pt x="3467" y="609"/>
                  <a:pt x="3446" y="602"/>
                  <a:pt x="3443" y="610"/>
                </a:cubicBezTo>
                <a:cubicBezTo>
                  <a:pt x="3440" y="618"/>
                  <a:pt x="3438" y="625"/>
                  <a:pt x="3442" y="626"/>
                </a:cubicBezTo>
                <a:cubicBezTo>
                  <a:pt x="3446" y="627"/>
                  <a:pt x="3475" y="640"/>
                  <a:pt x="3465" y="643"/>
                </a:cubicBezTo>
                <a:cubicBezTo>
                  <a:pt x="3455" y="646"/>
                  <a:pt x="3437" y="631"/>
                  <a:pt x="3437" y="631"/>
                </a:cubicBezTo>
                <a:cubicBezTo>
                  <a:pt x="3423" y="622"/>
                  <a:pt x="3423" y="622"/>
                  <a:pt x="3423" y="622"/>
                </a:cubicBezTo>
                <a:cubicBezTo>
                  <a:pt x="3422" y="642"/>
                  <a:pt x="3422" y="642"/>
                  <a:pt x="3422" y="642"/>
                </a:cubicBezTo>
                <a:cubicBezTo>
                  <a:pt x="3422" y="642"/>
                  <a:pt x="3407" y="651"/>
                  <a:pt x="3398" y="649"/>
                </a:cubicBezTo>
                <a:cubicBezTo>
                  <a:pt x="3389" y="647"/>
                  <a:pt x="3356" y="638"/>
                  <a:pt x="3345" y="638"/>
                </a:cubicBezTo>
                <a:cubicBezTo>
                  <a:pt x="3334" y="638"/>
                  <a:pt x="3312" y="642"/>
                  <a:pt x="3301" y="641"/>
                </a:cubicBezTo>
                <a:cubicBezTo>
                  <a:pt x="3290" y="640"/>
                  <a:pt x="3273" y="623"/>
                  <a:pt x="3273" y="623"/>
                </a:cubicBezTo>
                <a:cubicBezTo>
                  <a:pt x="3234" y="626"/>
                  <a:pt x="3234" y="626"/>
                  <a:pt x="3234" y="626"/>
                </a:cubicBezTo>
                <a:cubicBezTo>
                  <a:pt x="3234" y="626"/>
                  <a:pt x="3219" y="612"/>
                  <a:pt x="3211" y="610"/>
                </a:cubicBezTo>
                <a:cubicBezTo>
                  <a:pt x="3203" y="608"/>
                  <a:pt x="3186" y="608"/>
                  <a:pt x="3174" y="614"/>
                </a:cubicBezTo>
                <a:cubicBezTo>
                  <a:pt x="3162" y="620"/>
                  <a:pt x="3167" y="622"/>
                  <a:pt x="3154" y="622"/>
                </a:cubicBezTo>
                <a:cubicBezTo>
                  <a:pt x="3141" y="622"/>
                  <a:pt x="3113" y="615"/>
                  <a:pt x="3106" y="624"/>
                </a:cubicBezTo>
                <a:cubicBezTo>
                  <a:pt x="3099" y="633"/>
                  <a:pt x="3087" y="659"/>
                  <a:pt x="3087" y="659"/>
                </a:cubicBezTo>
                <a:cubicBezTo>
                  <a:pt x="3079" y="679"/>
                  <a:pt x="3079" y="679"/>
                  <a:pt x="3079" y="679"/>
                </a:cubicBezTo>
                <a:cubicBezTo>
                  <a:pt x="3058" y="681"/>
                  <a:pt x="3058" y="681"/>
                  <a:pt x="3058" y="681"/>
                </a:cubicBezTo>
                <a:cubicBezTo>
                  <a:pt x="3053" y="700"/>
                  <a:pt x="3053" y="700"/>
                  <a:pt x="3053" y="700"/>
                </a:cubicBezTo>
                <a:cubicBezTo>
                  <a:pt x="3038" y="667"/>
                  <a:pt x="3038" y="667"/>
                  <a:pt x="3038" y="667"/>
                </a:cubicBezTo>
                <a:cubicBezTo>
                  <a:pt x="3038" y="667"/>
                  <a:pt x="3080" y="678"/>
                  <a:pt x="3069" y="659"/>
                </a:cubicBezTo>
                <a:cubicBezTo>
                  <a:pt x="3058" y="640"/>
                  <a:pt x="3026" y="638"/>
                  <a:pt x="3026" y="638"/>
                </a:cubicBezTo>
                <a:cubicBezTo>
                  <a:pt x="3028" y="629"/>
                  <a:pt x="3028" y="629"/>
                  <a:pt x="3028" y="629"/>
                </a:cubicBezTo>
                <a:cubicBezTo>
                  <a:pt x="3028" y="629"/>
                  <a:pt x="2959" y="642"/>
                  <a:pt x="2922" y="642"/>
                </a:cubicBezTo>
                <a:cubicBezTo>
                  <a:pt x="2885" y="642"/>
                  <a:pt x="2819" y="638"/>
                  <a:pt x="2832" y="632"/>
                </a:cubicBezTo>
                <a:cubicBezTo>
                  <a:pt x="2845" y="626"/>
                  <a:pt x="2929" y="629"/>
                  <a:pt x="2909" y="607"/>
                </a:cubicBezTo>
                <a:cubicBezTo>
                  <a:pt x="2889" y="585"/>
                  <a:pt x="2870" y="583"/>
                  <a:pt x="2846" y="585"/>
                </a:cubicBezTo>
                <a:cubicBezTo>
                  <a:pt x="2822" y="587"/>
                  <a:pt x="2783" y="573"/>
                  <a:pt x="2777" y="570"/>
                </a:cubicBezTo>
                <a:cubicBezTo>
                  <a:pt x="2771" y="567"/>
                  <a:pt x="2753" y="567"/>
                  <a:pt x="2753" y="567"/>
                </a:cubicBezTo>
                <a:cubicBezTo>
                  <a:pt x="2753" y="567"/>
                  <a:pt x="2705" y="540"/>
                  <a:pt x="2687" y="541"/>
                </a:cubicBezTo>
                <a:cubicBezTo>
                  <a:pt x="2669" y="542"/>
                  <a:pt x="2637" y="567"/>
                  <a:pt x="2637" y="567"/>
                </a:cubicBezTo>
                <a:cubicBezTo>
                  <a:pt x="2601" y="567"/>
                  <a:pt x="2601" y="567"/>
                  <a:pt x="2601" y="567"/>
                </a:cubicBezTo>
                <a:cubicBezTo>
                  <a:pt x="2621" y="555"/>
                  <a:pt x="2621" y="555"/>
                  <a:pt x="2621" y="555"/>
                </a:cubicBezTo>
                <a:cubicBezTo>
                  <a:pt x="2621" y="547"/>
                  <a:pt x="2621" y="547"/>
                  <a:pt x="2621" y="547"/>
                </a:cubicBezTo>
                <a:cubicBezTo>
                  <a:pt x="2638" y="527"/>
                  <a:pt x="2638" y="527"/>
                  <a:pt x="2638" y="527"/>
                </a:cubicBezTo>
                <a:cubicBezTo>
                  <a:pt x="2638" y="527"/>
                  <a:pt x="2599" y="545"/>
                  <a:pt x="2592" y="552"/>
                </a:cubicBezTo>
                <a:cubicBezTo>
                  <a:pt x="2585" y="559"/>
                  <a:pt x="2569" y="581"/>
                  <a:pt x="2554" y="566"/>
                </a:cubicBezTo>
                <a:cubicBezTo>
                  <a:pt x="2539" y="551"/>
                  <a:pt x="2560" y="535"/>
                  <a:pt x="2557" y="524"/>
                </a:cubicBezTo>
                <a:cubicBezTo>
                  <a:pt x="2554" y="513"/>
                  <a:pt x="2531" y="502"/>
                  <a:pt x="2528" y="511"/>
                </a:cubicBezTo>
                <a:cubicBezTo>
                  <a:pt x="2525" y="520"/>
                  <a:pt x="2538" y="526"/>
                  <a:pt x="2538" y="526"/>
                </a:cubicBezTo>
                <a:cubicBezTo>
                  <a:pt x="2538" y="526"/>
                  <a:pt x="2518" y="524"/>
                  <a:pt x="2507" y="528"/>
                </a:cubicBezTo>
                <a:cubicBezTo>
                  <a:pt x="2496" y="532"/>
                  <a:pt x="2480" y="543"/>
                  <a:pt x="2475" y="547"/>
                </a:cubicBezTo>
                <a:cubicBezTo>
                  <a:pt x="2470" y="551"/>
                  <a:pt x="2452" y="546"/>
                  <a:pt x="2452" y="546"/>
                </a:cubicBezTo>
                <a:cubicBezTo>
                  <a:pt x="2452" y="546"/>
                  <a:pt x="2405" y="556"/>
                  <a:pt x="2401" y="557"/>
                </a:cubicBezTo>
                <a:cubicBezTo>
                  <a:pt x="2397" y="558"/>
                  <a:pt x="2372" y="573"/>
                  <a:pt x="2372" y="573"/>
                </a:cubicBezTo>
                <a:cubicBezTo>
                  <a:pt x="2358" y="560"/>
                  <a:pt x="2358" y="560"/>
                  <a:pt x="2358" y="560"/>
                </a:cubicBezTo>
                <a:cubicBezTo>
                  <a:pt x="2358" y="560"/>
                  <a:pt x="2325" y="577"/>
                  <a:pt x="2315" y="578"/>
                </a:cubicBezTo>
                <a:cubicBezTo>
                  <a:pt x="2305" y="579"/>
                  <a:pt x="2287" y="591"/>
                  <a:pt x="2287" y="591"/>
                </a:cubicBezTo>
                <a:cubicBezTo>
                  <a:pt x="2265" y="593"/>
                  <a:pt x="2265" y="593"/>
                  <a:pt x="2265" y="593"/>
                </a:cubicBezTo>
                <a:cubicBezTo>
                  <a:pt x="2265" y="593"/>
                  <a:pt x="2282" y="575"/>
                  <a:pt x="2297" y="572"/>
                </a:cubicBezTo>
                <a:cubicBezTo>
                  <a:pt x="2312" y="569"/>
                  <a:pt x="2346" y="556"/>
                  <a:pt x="2346" y="556"/>
                </a:cubicBezTo>
                <a:cubicBezTo>
                  <a:pt x="2346" y="556"/>
                  <a:pt x="2377" y="559"/>
                  <a:pt x="2388" y="554"/>
                </a:cubicBezTo>
                <a:cubicBezTo>
                  <a:pt x="2399" y="549"/>
                  <a:pt x="2460" y="535"/>
                  <a:pt x="2460" y="535"/>
                </a:cubicBezTo>
                <a:cubicBezTo>
                  <a:pt x="2460" y="535"/>
                  <a:pt x="2472" y="532"/>
                  <a:pt x="2465" y="527"/>
                </a:cubicBezTo>
                <a:cubicBezTo>
                  <a:pt x="2458" y="522"/>
                  <a:pt x="2437" y="529"/>
                  <a:pt x="2437" y="529"/>
                </a:cubicBezTo>
                <a:cubicBezTo>
                  <a:pt x="2437" y="529"/>
                  <a:pt x="2419" y="528"/>
                  <a:pt x="2412" y="530"/>
                </a:cubicBezTo>
                <a:cubicBezTo>
                  <a:pt x="2405" y="532"/>
                  <a:pt x="2398" y="540"/>
                  <a:pt x="2393" y="541"/>
                </a:cubicBezTo>
                <a:cubicBezTo>
                  <a:pt x="2388" y="542"/>
                  <a:pt x="2369" y="542"/>
                  <a:pt x="2369" y="542"/>
                </a:cubicBezTo>
                <a:cubicBezTo>
                  <a:pt x="2354" y="545"/>
                  <a:pt x="2354" y="545"/>
                  <a:pt x="2354" y="545"/>
                </a:cubicBezTo>
                <a:cubicBezTo>
                  <a:pt x="2354" y="545"/>
                  <a:pt x="2337" y="545"/>
                  <a:pt x="2325" y="548"/>
                </a:cubicBezTo>
                <a:cubicBezTo>
                  <a:pt x="2313" y="551"/>
                  <a:pt x="2302" y="563"/>
                  <a:pt x="2302" y="563"/>
                </a:cubicBezTo>
                <a:cubicBezTo>
                  <a:pt x="2288" y="565"/>
                  <a:pt x="2288" y="565"/>
                  <a:pt x="2288" y="565"/>
                </a:cubicBezTo>
                <a:cubicBezTo>
                  <a:pt x="2253" y="578"/>
                  <a:pt x="2253" y="578"/>
                  <a:pt x="2253" y="578"/>
                </a:cubicBezTo>
                <a:cubicBezTo>
                  <a:pt x="2253" y="578"/>
                  <a:pt x="2238" y="581"/>
                  <a:pt x="2235" y="584"/>
                </a:cubicBezTo>
                <a:cubicBezTo>
                  <a:pt x="2232" y="587"/>
                  <a:pt x="2230" y="603"/>
                  <a:pt x="2223" y="599"/>
                </a:cubicBezTo>
                <a:cubicBezTo>
                  <a:pt x="2216" y="595"/>
                  <a:pt x="2215" y="580"/>
                  <a:pt x="2226" y="578"/>
                </a:cubicBezTo>
                <a:cubicBezTo>
                  <a:pt x="2237" y="576"/>
                  <a:pt x="2266" y="566"/>
                  <a:pt x="2275" y="560"/>
                </a:cubicBezTo>
                <a:cubicBezTo>
                  <a:pt x="2284" y="554"/>
                  <a:pt x="2242" y="548"/>
                  <a:pt x="2235" y="557"/>
                </a:cubicBezTo>
                <a:cubicBezTo>
                  <a:pt x="2228" y="566"/>
                  <a:pt x="2201" y="571"/>
                  <a:pt x="2194" y="571"/>
                </a:cubicBezTo>
                <a:cubicBezTo>
                  <a:pt x="2187" y="571"/>
                  <a:pt x="2187" y="598"/>
                  <a:pt x="2187" y="598"/>
                </a:cubicBezTo>
                <a:cubicBezTo>
                  <a:pt x="2171" y="589"/>
                  <a:pt x="2171" y="589"/>
                  <a:pt x="2171" y="589"/>
                </a:cubicBezTo>
                <a:cubicBezTo>
                  <a:pt x="2129" y="583"/>
                  <a:pt x="2129" y="583"/>
                  <a:pt x="2129" y="583"/>
                </a:cubicBezTo>
                <a:cubicBezTo>
                  <a:pt x="2129" y="583"/>
                  <a:pt x="2103" y="571"/>
                  <a:pt x="2105" y="566"/>
                </a:cubicBezTo>
                <a:cubicBezTo>
                  <a:pt x="2107" y="561"/>
                  <a:pt x="2111" y="552"/>
                  <a:pt x="2111" y="552"/>
                </a:cubicBezTo>
                <a:cubicBezTo>
                  <a:pt x="2037" y="553"/>
                  <a:pt x="2037" y="553"/>
                  <a:pt x="2037" y="553"/>
                </a:cubicBezTo>
                <a:cubicBezTo>
                  <a:pt x="2037" y="553"/>
                  <a:pt x="2034" y="530"/>
                  <a:pt x="2008" y="532"/>
                </a:cubicBezTo>
                <a:cubicBezTo>
                  <a:pt x="1982" y="534"/>
                  <a:pt x="1951" y="543"/>
                  <a:pt x="1947" y="543"/>
                </a:cubicBezTo>
                <a:cubicBezTo>
                  <a:pt x="1943" y="543"/>
                  <a:pt x="1916" y="529"/>
                  <a:pt x="1912" y="527"/>
                </a:cubicBezTo>
                <a:cubicBezTo>
                  <a:pt x="1908" y="525"/>
                  <a:pt x="1858" y="526"/>
                  <a:pt x="1858" y="526"/>
                </a:cubicBezTo>
                <a:cubicBezTo>
                  <a:pt x="1858" y="526"/>
                  <a:pt x="1842" y="518"/>
                  <a:pt x="1824" y="516"/>
                </a:cubicBezTo>
                <a:cubicBezTo>
                  <a:pt x="1806" y="514"/>
                  <a:pt x="1735" y="517"/>
                  <a:pt x="1732" y="517"/>
                </a:cubicBezTo>
                <a:cubicBezTo>
                  <a:pt x="1729" y="517"/>
                  <a:pt x="1735" y="503"/>
                  <a:pt x="1735" y="503"/>
                </a:cubicBezTo>
                <a:cubicBezTo>
                  <a:pt x="1735" y="503"/>
                  <a:pt x="1699" y="498"/>
                  <a:pt x="1694" y="497"/>
                </a:cubicBezTo>
                <a:cubicBezTo>
                  <a:pt x="1689" y="496"/>
                  <a:pt x="1656" y="503"/>
                  <a:pt x="1656" y="503"/>
                </a:cubicBezTo>
                <a:cubicBezTo>
                  <a:pt x="1676" y="481"/>
                  <a:pt x="1676" y="481"/>
                  <a:pt x="1676" y="481"/>
                </a:cubicBezTo>
                <a:cubicBezTo>
                  <a:pt x="1621" y="503"/>
                  <a:pt x="1621" y="503"/>
                  <a:pt x="1621" y="503"/>
                </a:cubicBezTo>
                <a:cubicBezTo>
                  <a:pt x="1642" y="481"/>
                  <a:pt x="1642" y="481"/>
                  <a:pt x="1642" y="481"/>
                </a:cubicBezTo>
                <a:cubicBezTo>
                  <a:pt x="1622" y="479"/>
                  <a:pt x="1622" y="479"/>
                  <a:pt x="1622" y="479"/>
                </a:cubicBezTo>
                <a:cubicBezTo>
                  <a:pt x="1622" y="479"/>
                  <a:pt x="1591" y="501"/>
                  <a:pt x="1561" y="501"/>
                </a:cubicBezTo>
                <a:cubicBezTo>
                  <a:pt x="1531" y="501"/>
                  <a:pt x="1485" y="495"/>
                  <a:pt x="1477" y="503"/>
                </a:cubicBezTo>
                <a:cubicBezTo>
                  <a:pt x="1469" y="511"/>
                  <a:pt x="1439" y="518"/>
                  <a:pt x="1439" y="518"/>
                </a:cubicBezTo>
                <a:cubicBezTo>
                  <a:pt x="1439" y="518"/>
                  <a:pt x="1390" y="518"/>
                  <a:pt x="1364" y="521"/>
                </a:cubicBezTo>
                <a:cubicBezTo>
                  <a:pt x="1338" y="524"/>
                  <a:pt x="1277" y="570"/>
                  <a:pt x="1235" y="576"/>
                </a:cubicBezTo>
                <a:cubicBezTo>
                  <a:pt x="1193" y="582"/>
                  <a:pt x="1141" y="586"/>
                  <a:pt x="1141" y="586"/>
                </a:cubicBezTo>
                <a:cubicBezTo>
                  <a:pt x="1141" y="586"/>
                  <a:pt x="1078" y="607"/>
                  <a:pt x="1081" y="612"/>
                </a:cubicBezTo>
                <a:cubicBezTo>
                  <a:pt x="1084" y="617"/>
                  <a:pt x="1105" y="628"/>
                  <a:pt x="1105" y="628"/>
                </a:cubicBezTo>
                <a:cubicBezTo>
                  <a:pt x="1105" y="628"/>
                  <a:pt x="1118" y="651"/>
                  <a:pt x="1112" y="654"/>
                </a:cubicBezTo>
                <a:cubicBezTo>
                  <a:pt x="1106" y="657"/>
                  <a:pt x="1097" y="666"/>
                  <a:pt x="1097" y="666"/>
                </a:cubicBezTo>
                <a:cubicBezTo>
                  <a:pt x="1157" y="667"/>
                  <a:pt x="1157" y="667"/>
                  <a:pt x="1157" y="667"/>
                </a:cubicBezTo>
                <a:cubicBezTo>
                  <a:pt x="1138" y="690"/>
                  <a:pt x="1138" y="690"/>
                  <a:pt x="1138" y="690"/>
                </a:cubicBezTo>
                <a:cubicBezTo>
                  <a:pt x="1182" y="692"/>
                  <a:pt x="1182" y="692"/>
                  <a:pt x="1182" y="692"/>
                </a:cubicBezTo>
                <a:cubicBezTo>
                  <a:pt x="1175" y="704"/>
                  <a:pt x="1175" y="704"/>
                  <a:pt x="1175" y="704"/>
                </a:cubicBezTo>
                <a:cubicBezTo>
                  <a:pt x="1139" y="703"/>
                  <a:pt x="1139" y="703"/>
                  <a:pt x="1139" y="703"/>
                </a:cubicBezTo>
                <a:cubicBezTo>
                  <a:pt x="1132" y="711"/>
                  <a:pt x="1132" y="711"/>
                  <a:pt x="1132" y="711"/>
                </a:cubicBezTo>
                <a:cubicBezTo>
                  <a:pt x="1110" y="711"/>
                  <a:pt x="1110" y="711"/>
                  <a:pt x="1110" y="711"/>
                </a:cubicBezTo>
                <a:cubicBezTo>
                  <a:pt x="1110" y="711"/>
                  <a:pt x="1076" y="717"/>
                  <a:pt x="1051" y="717"/>
                </a:cubicBezTo>
                <a:cubicBezTo>
                  <a:pt x="1026" y="717"/>
                  <a:pt x="1031" y="707"/>
                  <a:pt x="1045" y="702"/>
                </a:cubicBezTo>
                <a:cubicBezTo>
                  <a:pt x="1059" y="697"/>
                  <a:pt x="1017" y="694"/>
                  <a:pt x="1017" y="694"/>
                </a:cubicBezTo>
                <a:cubicBezTo>
                  <a:pt x="1017" y="694"/>
                  <a:pt x="969" y="692"/>
                  <a:pt x="967" y="700"/>
                </a:cubicBezTo>
                <a:cubicBezTo>
                  <a:pt x="965" y="708"/>
                  <a:pt x="969" y="713"/>
                  <a:pt x="969" y="713"/>
                </a:cubicBezTo>
                <a:cubicBezTo>
                  <a:pt x="969" y="713"/>
                  <a:pt x="934" y="715"/>
                  <a:pt x="911" y="718"/>
                </a:cubicBezTo>
                <a:cubicBezTo>
                  <a:pt x="888" y="721"/>
                  <a:pt x="820" y="734"/>
                  <a:pt x="837" y="740"/>
                </a:cubicBezTo>
                <a:cubicBezTo>
                  <a:pt x="854" y="746"/>
                  <a:pt x="877" y="749"/>
                  <a:pt x="877" y="749"/>
                </a:cubicBezTo>
                <a:cubicBezTo>
                  <a:pt x="848" y="759"/>
                  <a:pt x="848" y="759"/>
                  <a:pt x="848" y="759"/>
                </a:cubicBezTo>
                <a:cubicBezTo>
                  <a:pt x="840" y="786"/>
                  <a:pt x="840" y="786"/>
                  <a:pt x="840" y="786"/>
                </a:cubicBezTo>
                <a:cubicBezTo>
                  <a:pt x="840" y="786"/>
                  <a:pt x="864" y="790"/>
                  <a:pt x="880" y="790"/>
                </a:cubicBezTo>
                <a:cubicBezTo>
                  <a:pt x="896" y="790"/>
                  <a:pt x="910" y="787"/>
                  <a:pt x="910" y="787"/>
                </a:cubicBezTo>
                <a:cubicBezTo>
                  <a:pt x="939" y="795"/>
                  <a:pt x="939" y="795"/>
                  <a:pt x="939" y="795"/>
                </a:cubicBezTo>
                <a:cubicBezTo>
                  <a:pt x="948" y="783"/>
                  <a:pt x="948" y="783"/>
                  <a:pt x="948" y="783"/>
                </a:cubicBezTo>
                <a:cubicBezTo>
                  <a:pt x="957" y="794"/>
                  <a:pt x="957" y="794"/>
                  <a:pt x="957" y="794"/>
                </a:cubicBezTo>
                <a:cubicBezTo>
                  <a:pt x="957" y="794"/>
                  <a:pt x="989" y="776"/>
                  <a:pt x="994" y="776"/>
                </a:cubicBezTo>
                <a:cubicBezTo>
                  <a:pt x="999" y="776"/>
                  <a:pt x="1007" y="782"/>
                  <a:pt x="1017" y="778"/>
                </a:cubicBezTo>
                <a:cubicBezTo>
                  <a:pt x="1027" y="774"/>
                  <a:pt x="1045" y="760"/>
                  <a:pt x="1046" y="769"/>
                </a:cubicBezTo>
                <a:cubicBezTo>
                  <a:pt x="1047" y="778"/>
                  <a:pt x="1037" y="790"/>
                  <a:pt x="1037" y="790"/>
                </a:cubicBezTo>
                <a:cubicBezTo>
                  <a:pt x="999" y="791"/>
                  <a:pt x="999" y="791"/>
                  <a:pt x="999" y="791"/>
                </a:cubicBezTo>
                <a:cubicBezTo>
                  <a:pt x="1004" y="812"/>
                  <a:pt x="1004" y="812"/>
                  <a:pt x="1004" y="812"/>
                </a:cubicBezTo>
                <a:cubicBezTo>
                  <a:pt x="1004" y="812"/>
                  <a:pt x="976" y="839"/>
                  <a:pt x="958" y="840"/>
                </a:cubicBezTo>
                <a:cubicBezTo>
                  <a:pt x="940" y="841"/>
                  <a:pt x="920" y="841"/>
                  <a:pt x="920" y="841"/>
                </a:cubicBezTo>
                <a:cubicBezTo>
                  <a:pt x="910" y="829"/>
                  <a:pt x="910" y="829"/>
                  <a:pt x="910" y="829"/>
                </a:cubicBezTo>
                <a:cubicBezTo>
                  <a:pt x="898" y="836"/>
                  <a:pt x="898" y="836"/>
                  <a:pt x="898" y="836"/>
                </a:cubicBezTo>
                <a:cubicBezTo>
                  <a:pt x="898" y="844"/>
                  <a:pt x="898" y="844"/>
                  <a:pt x="898" y="844"/>
                </a:cubicBezTo>
                <a:cubicBezTo>
                  <a:pt x="898" y="844"/>
                  <a:pt x="857" y="868"/>
                  <a:pt x="844" y="860"/>
                </a:cubicBezTo>
                <a:cubicBezTo>
                  <a:pt x="831" y="852"/>
                  <a:pt x="824" y="850"/>
                  <a:pt x="824" y="850"/>
                </a:cubicBezTo>
                <a:cubicBezTo>
                  <a:pt x="762" y="885"/>
                  <a:pt x="762" y="885"/>
                  <a:pt x="762" y="885"/>
                </a:cubicBezTo>
                <a:cubicBezTo>
                  <a:pt x="748" y="897"/>
                  <a:pt x="748" y="897"/>
                  <a:pt x="748" y="897"/>
                </a:cubicBezTo>
                <a:cubicBezTo>
                  <a:pt x="745" y="883"/>
                  <a:pt x="745" y="883"/>
                  <a:pt x="745" y="883"/>
                </a:cubicBezTo>
                <a:cubicBezTo>
                  <a:pt x="745" y="883"/>
                  <a:pt x="720" y="894"/>
                  <a:pt x="706" y="899"/>
                </a:cubicBezTo>
                <a:cubicBezTo>
                  <a:pt x="692" y="904"/>
                  <a:pt x="682" y="919"/>
                  <a:pt x="682" y="919"/>
                </a:cubicBezTo>
                <a:cubicBezTo>
                  <a:pt x="662" y="913"/>
                  <a:pt x="662" y="913"/>
                  <a:pt x="662" y="913"/>
                </a:cubicBezTo>
                <a:cubicBezTo>
                  <a:pt x="662" y="926"/>
                  <a:pt x="662" y="926"/>
                  <a:pt x="662" y="926"/>
                </a:cubicBezTo>
                <a:cubicBezTo>
                  <a:pt x="662" y="926"/>
                  <a:pt x="649" y="920"/>
                  <a:pt x="646" y="926"/>
                </a:cubicBezTo>
                <a:cubicBezTo>
                  <a:pt x="643" y="932"/>
                  <a:pt x="643" y="941"/>
                  <a:pt x="643" y="941"/>
                </a:cubicBezTo>
                <a:cubicBezTo>
                  <a:pt x="636" y="950"/>
                  <a:pt x="636" y="950"/>
                  <a:pt x="636" y="950"/>
                </a:cubicBezTo>
                <a:cubicBezTo>
                  <a:pt x="676" y="936"/>
                  <a:pt x="676" y="936"/>
                  <a:pt x="676" y="936"/>
                </a:cubicBezTo>
                <a:cubicBezTo>
                  <a:pt x="661" y="948"/>
                  <a:pt x="661" y="948"/>
                  <a:pt x="661" y="948"/>
                </a:cubicBezTo>
                <a:cubicBezTo>
                  <a:pt x="661" y="954"/>
                  <a:pt x="661" y="954"/>
                  <a:pt x="661" y="954"/>
                </a:cubicBezTo>
                <a:cubicBezTo>
                  <a:pt x="648" y="962"/>
                  <a:pt x="648" y="962"/>
                  <a:pt x="648" y="962"/>
                </a:cubicBezTo>
                <a:cubicBezTo>
                  <a:pt x="648" y="962"/>
                  <a:pt x="698" y="961"/>
                  <a:pt x="689" y="970"/>
                </a:cubicBezTo>
                <a:cubicBezTo>
                  <a:pt x="680" y="979"/>
                  <a:pt x="658" y="977"/>
                  <a:pt x="658" y="977"/>
                </a:cubicBezTo>
                <a:cubicBezTo>
                  <a:pt x="641" y="981"/>
                  <a:pt x="641" y="981"/>
                  <a:pt x="641" y="981"/>
                </a:cubicBezTo>
                <a:cubicBezTo>
                  <a:pt x="649" y="973"/>
                  <a:pt x="649" y="973"/>
                  <a:pt x="649" y="973"/>
                </a:cubicBezTo>
                <a:cubicBezTo>
                  <a:pt x="640" y="968"/>
                  <a:pt x="640" y="968"/>
                  <a:pt x="640" y="968"/>
                </a:cubicBezTo>
                <a:cubicBezTo>
                  <a:pt x="640" y="968"/>
                  <a:pt x="611" y="979"/>
                  <a:pt x="612" y="982"/>
                </a:cubicBezTo>
                <a:cubicBezTo>
                  <a:pt x="613" y="985"/>
                  <a:pt x="619" y="989"/>
                  <a:pt x="619" y="989"/>
                </a:cubicBezTo>
                <a:cubicBezTo>
                  <a:pt x="619" y="989"/>
                  <a:pt x="608" y="1016"/>
                  <a:pt x="612" y="1017"/>
                </a:cubicBezTo>
                <a:cubicBezTo>
                  <a:pt x="616" y="1018"/>
                  <a:pt x="659" y="1015"/>
                  <a:pt x="659" y="1015"/>
                </a:cubicBezTo>
                <a:cubicBezTo>
                  <a:pt x="691" y="997"/>
                  <a:pt x="691" y="997"/>
                  <a:pt x="691" y="997"/>
                </a:cubicBezTo>
                <a:cubicBezTo>
                  <a:pt x="738" y="978"/>
                  <a:pt x="738" y="978"/>
                  <a:pt x="738" y="978"/>
                </a:cubicBezTo>
                <a:cubicBezTo>
                  <a:pt x="738" y="978"/>
                  <a:pt x="694" y="999"/>
                  <a:pt x="689" y="1007"/>
                </a:cubicBezTo>
                <a:cubicBezTo>
                  <a:pt x="684" y="1015"/>
                  <a:pt x="685" y="1031"/>
                  <a:pt x="678" y="1033"/>
                </a:cubicBezTo>
                <a:cubicBezTo>
                  <a:pt x="671" y="1035"/>
                  <a:pt x="659" y="1028"/>
                  <a:pt x="653" y="1037"/>
                </a:cubicBezTo>
                <a:cubicBezTo>
                  <a:pt x="647" y="1046"/>
                  <a:pt x="643" y="1056"/>
                  <a:pt x="638" y="1061"/>
                </a:cubicBezTo>
                <a:cubicBezTo>
                  <a:pt x="633" y="1066"/>
                  <a:pt x="618" y="1075"/>
                  <a:pt x="618" y="1075"/>
                </a:cubicBezTo>
                <a:cubicBezTo>
                  <a:pt x="654" y="1071"/>
                  <a:pt x="654" y="1071"/>
                  <a:pt x="654" y="1071"/>
                </a:cubicBezTo>
                <a:cubicBezTo>
                  <a:pt x="647" y="1083"/>
                  <a:pt x="647" y="1083"/>
                  <a:pt x="647" y="1083"/>
                </a:cubicBezTo>
                <a:cubicBezTo>
                  <a:pt x="647" y="1083"/>
                  <a:pt x="677" y="1052"/>
                  <a:pt x="694" y="1055"/>
                </a:cubicBezTo>
                <a:cubicBezTo>
                  <a:pt x="711" y="1058"/>
                  <a:pt x="702" y="1063"/>
                  <a:pt x="702" y="1063"/>
                </a:cubicBezTo>
                <a:cubicBezTo>
                  <a:pt x="718" y="1061"/>
                  <a:pt x="718" y="1061"/>
                  <a:pt x="718" y="1061"/>
                </a:cubicBezTo>
                <a:cubicBezTo>
                  <a:pt x="718" y="1061"/>
                  <a:pt x="705" y="1086"/>
                  <a:pt x="719" y="1086"/>
                </a:cubicBezTo>
                <a:cubicBezTo>
                  <a:pt x="733" y="1086"/>
                  <a:pt x="750" y="1064"/>
                  <a:pt x="750" y="1064"/>
                </a:cubicBezTo>
                <a:cubicBezTo>
                  <a:pt x="778" y="1051"/>
                  <a:pt x="778" y="1051"/>
                  <a:pt x="778" y="1051"/>
                </a:cubicBezTo>
                <a:cubicBezTo>
                  <a:pt x="785" y="1059"/>
                  <a:pt x="785" y="1059"/>
                  <a:pt x="785" y="1059"/>
                </a:cubicBezTo>
                <a:cubicBezTo>
                  <a:pt x="765" y="1061"/>
                  <a:pt x="765" y="1061"/>
                  <a:pt x="765" y="1061"/>
                </a:cubicBezTo>
                <a:cubicBezTo>
                  <a:pt x="765" y="1061"/>
                  <a:pt x="751" y="1075"/>
                  <a:pt x="762" y="1075"/>
                </a:cubicBezTo>
                <a:cubicBezTo>
                  <a:pt x="773" y="1075"/>
                  <a:pt x="819" y="1062"/>
                  <a:pt x="819" y="1062"/>
                </a:cubicBezTo>
                <a:cubicBezTo>
                  <a:pt x="847" y="1050"/>
                  <a:pt x="847" y="1050"/>
                  <a:pt x="847" y="1050"/>
                </a:cubicBezTo>
                <a:cubicBezTo>
                  <a:pt x="815" y="1067"/>
                  <a:pt x="815" y="1067"/>
                  <a:pt x="815" y="1067"/>
                </a:cubicBezTo>
                <a:cubicBezTo>
                  <a:pt x="815" y="1077"/>
                  <a:pt x="815" y="1077"/>
                  <a:pt x="815" y="1077"/>
                </a:cubicBezTo>
                <a:cubicBezTo>
                  <a:pt x="815" y="1077"/>
                  <a:pt x="797" y="1078"/>
                  <a:pt x="786" y="1082"/>
                </a:cubicBezTo>
                <a:cubicBezTo>
                  <a:pt x="775" y="1086"/>
                  <a:pt x="767" y="1099"/>
                  <a:pt x="767" y="1099"/>
                </a:cubicBezTo>
                <a:cubicBezTo>
                  <a:pt x="747" y="1101"/>
                  <a:pt x="747" y="1101"/>
                  <a:pt x="747" y="1101"/>
                </a:cubicBezTo>
                <a:cubicBezTo>
                  <a:pt x="723" y="1121"/>
                  <a:pt x="723" y="1121"/>
                  <a:pt x="723" y="1121"/>
                </a:cubicBezTo>
                <a:cubicBezTo>
                  <a:pt x="724" y="1130"/>
                  <a:pt x="724" y="1130"/>
                  <a:pt x="724" y="1130"/>
                </a:cubicBezTo>
                <a:cubicBezTo>
                  <a:pt x="697" y="1133"/>
                  <a:pt x="697" y="1133"/>
                  <a:pt x="697" y="1133"/>
                </a:cubicBezTo>
                <a:cubicBezTo>
                  <a:pt x="697" y="1133"/>
                  <a:pt x="652" y="1142"/>
                  <a:pt x="647" y="1149"/>
                </a:cubicBezTo>
                <a:cubicBezTo>
                  <a:pt x="642" y="1156"/>
                  <a:pt x="645" y="1170"/>
                  <a:pt x="636" y="1170"/>
                </a:cubicBezTo>
                <a:cubicBezTo>
                  <a:pt x="627" y="1170"/>
                  <a:pt x="600" y="1170"/>
                  <a:pt x="584" y="1172"/>
                </a:cubicBezTo>
                <a:cubicBezTo>
                  <a:pt x="568" y="1174"/>
                  <a:pt x="515" y="1213"/>
                  <a:pt x="515" y="1213"/>
                </a:cubicBezTo>
                <a:cubicBezTo>
                  <a:pt x="500" y="1216"/>
                  <a:pt x="500" y="1216"/>
                  <a:pt x="500" y="1216"/>
                </a:cubicBezTo>
                <a:cubicBezTo>
                  <a:pt x="491" y="1226"/>
                  <a:pt x="491" y="1226"/>
                  <a:pt x="491" y="1226"/>
                </a:cubicBezTo>
                <a:cubicBezTo>
                  <a:pt x="490" y="1215"/>
                  <a:pt x="490" y="1215"/>
                  <a:pt x="490" y="1215"/>
                </a:cubicBezTo>
                <a:cubicBezTo>
                  <a:pt x="490" y="1215"/>
                  <a:pt x="458" y="1211"/>
                  <a:pt x="447" y="1217"/>
                </a:cubicBezTo>
                <a:cubicBezTo>
                  <a:pt x="436" y="1223"/>
                  <a:pt x="412" y="1233"/>
                  <a:pt x="412" y="1233"/>
                </a:cubicBezTo>
                <a:cubicBezTo>
                  <a:pt x="403" y="1231"/>
                  <a:pt x="403" y="1231"/>
                  <a:pt x="403" y="1231"/>
                </a:cubicBezTo>
                <a:cubicBezTo>
                  <a:pt x="404" y="1239"/>
                  <a:pt x="404" y="1239"/>
                  <a:pt x="404" y="1239"/>
                </a:cubicBezTo>
                <a:cubicBezTo>
                  <a:pt x="385" y="1242"/>
                  <a:pt x="385" y="1242"/>
                  <a:pt x="385" y="1242"/>
                </a:cubicBezTo>
                <a:cubicBezTo>
                  <a:pt x="378" y="1248"/>
                  <a:pt x="378" y="1248"/>
                  <a:pt x="378" y="1248"/>
                </a:cubicBezTo>
                <a:cubicBezTo>
                  <a:pt x="362" y="1246"/>
                  <a:pt x="362" y="1246"/>
                  <a:pt x="362" y="1246"/>
                </a:cubicBezTo>
                <a:cubicBezTo>
                  <a:pt x="345" y="1261"/>
                  <a:pt x="345" y="1261"/>
                  <a:pt x="345" y="1261"/>
                </a:cubicBezTo>
                <a:cubicBezTo>
                  <a:pt x="350" y="1267"/>
                  <a:pt x="350" y="1267"/>
                  <a:pt x="350" y="1267"/>
                </a:cubicBezTo>
                <a:cubicBezTo>
                  <a:pt x="360" y="1255"/>
                  <a:pt x="360" y="1255"/>
                  <a:pt x="360" y="1255"/>
                </a:cubicBezTo>
                <a:cubicBezTo>
                  <a:pt x="373" y="1262"/>
                  <a:pt x="373" y="1262"/>
                  <a:pt x="373" y="1262"/>
                </a:cubicBezTo>
                <a:cubicBezTo>
                  <a:pt x="387" y="1250"/>
                  <a:pt x="387" y="1250"/>
                  <a:pt x="387" y="1250"/>
                </a:cubicBezTo>
                <a:cubicBezTo>
                  <a:pt x="388" y="1258"/>
                  <a:pt x="388" y="1258"/>
                  <a:pt x="388" y="1258"/>
                </a:cubicBezTo>
                <a:cubicBezTo>
                  <a:pt x="388" y="1258"/>
                  <a:pt x="409" y="1257"/>
                  <a:pt x="417" y="1250"/>
                </a:cubicBezTo>
                <a:cubicBezTo>
                  <a:pt x="425" y="1243"/>
                  <a:pt x="441" y="1229"/>
                  <a:pt x="450" y="1227"/>
                </a:cubicBezTo>
                <a:cubicBezTo>
                  <a:pt x="459" y="1225"/>
                  <a:pt x="451" y="1241"/>
                  <a:pt x="464" y="1241"/>
                </a:cubicBezTo>
                <a:cubicBezTo>
                  <a:pt x="477" y="1241"/>
                  <a:pt x="514" y="1225"/>
                  <a:pt x="514" y="1225"/>
                </a:cubicBezTo>
                <a:cubicBezTo>
                  <a:pt x="536" y="1231"/>
                  <a:pt x="536" y="1231"/>
                  <a:pt x="536" y="1231"/>
                </a:cubicBezTo>
                <a:cubicBezTo>
                  <a:pt x="548" y="1219"/>
                  <a:pt x="548" y="1219"/>
                  <a:pt x="548" y="1219"/>
                </a:cubicBezTo>
                <a:cubicBezTo>
                  <a:pt x="548" y="1219"/>
                  <a:pt x="585" y="1217"/>
                  <a:pt x="596" y="1208"/>
                </a:cubicBezTo>
                <a:cubicBezTo>
                  <a:pt x="607" y="1199"/>
                  <a:pt x="619" y="1185"/>
                  <a:pt x="628" y="1184"/>
                </a:cubicBezTo>
                <a:cubicBezTo>
                  <a:pt x="637" y="1183"/>
                  <a:pt x="649" y="1183"/>
                  <a:pt x="649" y="1183"/>
                </a:cubicBezTo>
                <a:cubicBezTo>
                  <a:pt x="653" y="1176"/>
                  <a:pt x="653" y="1176"/>
                  <a:pt x="653" y="1176"/>
                </a:cubicBezTo>
                <a:cubicBezTo>
                  <a:pt x="677" y="1176"/>
                  <a:pt x="677" y="1176"/>
                  <a:pt x="677" y="1176"/>
                </a:cubicBezTo>
                <a:cubicBezTo>
                  <a:pt x="684" y="1170"/>
                  <a:pt x="684" y="1170"/>
                  <a:pt x="684" y="1170"/>
                </a:cubicBezTo>
                <a:cubicBezTo>
                  <a:pt x="684" y="1170"/>
                  <a:pt x="717" y="1163"/>
                  <a:pt x="732" y="1156"/>
                </a:cubicBezTo>
                <a:cubicBezTo>
                  <a:pt x="747" y="1149"/>
                  <a:pt x="762" y="1135"/>
                  <a:pt x="762" y="1135"/>
                </a:cubicBezTo>
                <a:cubicBezTo>
                  <a:pt x="803" y="1129"/>
                  <a:pt x="803" y="1129"/>
                  <a:pt x="803" y="1129"/>
                </a:cubicBezTo>
                <a:cubicBezTo>
                  <a:pt x="841" y="1107"/>
                  <a:pt x="841" y="1107"/>
                  <a:pt x="841" y="1107"/>
                </a:cubicBezTo>
                <a:cubicBezTo>
                  <a:pt x="841" y="1107"/>
                  <a:pt x="885" y="1106"/>
                  <a:pt x="892" y="1099"/>
                </a:cubicBezTo>
                <a:cubicBezTo>
                  <a:pt x="899" y="1092"/>
                  <a:pt x="912" y="1080"/>
                  <a:pt x="912" y="1080"/>
                </a:cubicBezTo>
                <a:cubicBezTo>
                  <a:pt x="912" y="1080"/>
                  <a:pt x="954" y="1073"/>
                  <a:pt x="958" y="1065"/>
                </a:cubicBezTo>
                <a:cubicBezTo>
                  <a:pt x="962" y="1057"/>
                  <a:pt x="947" y="1057"/>
                  <a:pt x="947" y="1057"/>
                </a:cubicBezTo>
                <a:cubicBezTo>
                  <a:pt x="947" y="1057"/>
                  <a:pt x="970" y="1041"/>
                  <a:pt x="979" y="1036"/>
                </a:cubicBezTo>
                <a:cubicBezTo>
                  <a:pt x="988" y="1031"/>
                  <a:pt x="1015" y="1024"/>
                  <a:pt x="1015" y="1024"/>
                </a:cubicBezTo>
                <a:cubicBezTo>
                  <a:pt x="1066" y="1005"/>
                  <a:pt x="1066" y="1005"/>
                  <a:pt x="1066" y="1005"/>
                </a:cubicBezTo>
                <a:cubicBezTo>
                  <a:pt x="1060" y="992"/>
                  <a:pt x="1060" y="992"/>
                  <a:pt x="1060" y="992"/>
                </a:cubicBezTo>
                <a:cubicBezTo>
                  <a:pt x="1060" y="992"/>
                  <a:pt x="1083" y="998"/>
                  <a:pt x="1090" y="993"/>
                </a:cubicBezTo>
                <a:cubicBezTo>
                  <a:pt x="1097" y="988"/>
                  <a:pt x="1130" y="973"/>
                  <a:pt x="1130" y="973"/>
                </a:cubicBezTo>
                <a:cubicBezTo>
                  <a:pt x="1130" y="973"/>
                  <a:pt x="1188" y="949"/>
                  <a:pt x="1196" y="946"/>
                </a:cubicBezTo>
                <a:cubicBezTo>
                  <a:pt x="1204" y="943"/>
                  <a:pt x="1234" y="964"/>
                  <a:pt x="1234" y="964"/>
                </a:cubicBezTo>
                <a:cubicBezTo>
                  <a:pt x="1210" y="964"/>
                  <a:pt x="1210" y="964"/>
                  <a:pt x="1210" y="964"/>
                </a:cubicBezTo>
                <a:cubicBezTo>
                  <a:pt x="1197" y="956"/>
                  <a:pt x="1197" y="956"/>
                  <a:pt x="1197" y="956"/>
                </a:cubicBezTo>
                <a:cubicBezTo>
                  <a:pt x="1174" y="972"/>
                  <a:pt x="1174" y="972"/>
                  <a:pt x="1174" y="972"/>
                </a:cubicBezTo>
                <a:cubicBezTo>
                  <a:pt x="1151" y="972"/>
                  <a:pt x="1151" y="972"/>
                  <a:pt x="1151" y="972"/>
                </a:cubicBezTo>
                <a:cubicBezTo>
                  <a:pt x="1151" y="972"/>
                  <a:pt x="1128" y="994"/>
                  <a:pt x="1119" y="997"/>
                </a:cubicBezTo>
                <a:cubicBezTo>
                  <a:pt x="1110" y="1000"/>
                  <a:pt x="1071" y="1006"/>
                  <a:pt x="1075" y="1015"/>
                </a:cubicBezTo>
                <a:cubicBezTo>
                  <a:pt x="1079" y="1024"/>
                  <a:pt x="1099" y="1023"/>
                  <a:pt x="1099" y="1023"/>
                </a:cubicBezTo>
                <a:cubicBezTo>
                  <a:pt x="1099" y="1023"/>
                  <a:pt x="1079" y="1031"/>
                  <a:pt x="1075" y="1031"/>
                </a:cubicBezTo>
                <a:cubicBezTo>
                  <a:pt x="1071" y="1031"/>
                  <a:pt x="1042" y="1030"/>
                  <a:pt x="1042" y="1036"/>
                </a:cubicBezTo>
                <a:cubicBezTo>
                  <a:pt x="1042" y="1042"/>
                  <a:pt x="1045" y="1055"/>
                  <a:pt x="1065" y="1047"/>
                </a:cubicBezTo>
                <a:cubicBezTo>
                  <a:pt x="1085" y="1039"/>
                  <a:pt x="1129" y="1015"/>
                  <a:pt x="1147" y="1011"/>
                </a:cubicBezTo>
                <a:cubicBezTo>
                  <a:pt x="1165" y="1007"/>
                  <a:pt x="1197" y="1016"/>
                  <a:pt x="1211" y="1009"/>
                </a:cubicBezTo>
                <a:cubicBezTo>
                  <a:pt x="1225" y="1002"/>
                  <a:pt x="1247" y="981"/>
                  <a:pt x="1247" y="981"/>
                </a:cubicBezTo>
                <a:cubicBezTo>
                  <a:pt x="1245" y="971"/>
                  <a:pt x="1245" y="971"/>
                  <a:pt x="1245" y="971"/>
                </a:cubicBezTo>
                <a:cubicBezTo>
                  <a:pt x="1245" y="971"/>
                  <a:pt x="1299" y="950"/>
                  <a:pt x="1309" y="951"/>
                </a:cubicBezTo>
                <a:cubicBezTo>
                  <a:pt x="1319" y="952"/>
                  <a:pt x="1322" y="962"/>
                  <a:pt x="1322" y="962"/>
                </a:cubicBezTo>
                <a:cubicBezTo>
                  <a:pt x="1364" y="949"/>
                  <a:pt x="1364" y="949"/>
                  <a:pt x="1364" y="949"/>
                </a:cubicBezTo>
                <a:cubicBezTo>
                  <a:pt x="1336" y="971"/>
                  <a:pt x="1336" y="971"/>
                  <a:pt x="1336" y="971"/>
                </a:cubicBezTo>
                <a:cubicBezTo>
                  <a:pt x="1350" y="977"/>
                  <a:pt x="1350" y="977"/>
                  <a:pt x="1350" y="977"/>
                </a:cubicBezTo>
                <a:cubicBezTo>
                  <a:pt x="1350" y="977"/>
                  <a:pt x="1346" y="989"/>
                  <a:pt x="1350" y="989"/>
                </a:cubicBezTo>
                <a:cubicBezTo>
                  <a:pt x="1354" y="989"/>
                  <a:pt x="1395" y="964"/>
                  <a:pt x="1395" y="964"/>
                </a:cubicBezTo>
                <a:cubicBezTo>
                  <a:pt x="1395" y="964"/>
                  <a:pt x="1356" y="994"/>
                  <a:pt x="1367" y="999"/>
                </a:cubicBezTo>
                <a:cubicBezTo>
                  <a:pt x="1378" y="1004"/>
                  <a:pt x="1406" y="1005"/>
                  <a:pt x="1406" y="1005"/>
                </a:cubicBezTo>
                <a:cubicBezTo>
                  <a:pt x="1472" y="1011"/>
                  <a:pt x="1472" y="1011"/>
                  <a:pt x="1472" y="1011"/>
                </a:cubicBezTo>
                <a:cubicBezTo>
                  <a:pt x="1493" y="998"/>
                  <a:pt x="1493" y="998"/>
                  <a:pt x="1493" y="998"/>
                </a:cubicBezTo>
                <a:cubicBezTo>
                  <a:pt x="1493" y="998"/>
                  <a:pt x="1480" y="1020"/>
                  <a:pt x="1491" y="1021"/>
                </a:cubicBezTo>
                <a:cubicBezTo>
                  <a:pt x="1502" y="1022"/>
                  <a:pt x="1534" y="1020"/>
                  <a:pt x="1534" y="1020"/>
                </a:cubicBezTo>
                <a:cubicBezTo>
                  <a:pt x="1556" y="1014"/>
                  <a:pt x="1556" y="1014"/>
                  <a:pt x="1556" y="1014"/>
                </a:cubicBezTo>
                <a:cubicBezTo>
                  <a:pt x="1556" y="1014"/>
                  <a:pt x="1517" y="1028"/>
                  <a:pt x="1520" y="1036"/>
                </a:cubicBezTo>
                <a:cubicBezTo>
                  <a:pt x="1523" y="1044"/>
                  <a:pt x="1541" y="1052"/>
                  <a:pt x="1541" y="1052"/>
                </a:cubicBezTo>
                <a:cubicBezTo>
                  <a:pt x="1541" y="1052"/>
                  <a:pt x="1539" y="1088"/>
                  <a:pt x="1551" y="1088"/>
                </a:cubicBezTo>
                <a:cubicBezTo>
                  <a:pt x="1563" y="1088"/>
                  <a:pt x="1594" y="1085"/>
                  <a:pt x="1594" y="1085"/>
                </a:cubicBezTo>
                <a:cubicBezTo>
                  <a:pt x="1587" y="1064"/>
                  <a:pt x="1587" y="1064"/>
                  <a:pt x="1587" y="1064"/>
                </a:cubicBezTo>
                <a:cubicBezTo>
                  <a:pt x="1601" y="1059"/>
                  <a:pt x="1601" y="1059"/>
                  <a:pt x="1601" y="1059"/>
                </a:cubicBezTo>
                <a:cubicBezTo>
                  <a:pt x="1610" y="1070"/>
                  <a:pt x="1610" y="1070"/>
                  <a:pt x="1610" y="1070"/>
                </a:cubicBezTo>
                <a:cubicBezTo>
                  <a:pt x="1630" y="1064"/>
                  <a:pt x="1630" y="1064"/>
                  <a:pt x="1630" y="1064"/>
                </a:cubicBezTo>
                <a:cubicBezTo>
                  <a:pt x="1630" y="1064"/>
                  <a:pt x="1610" y="1087"/>
                  <a:pt x="1621" y="1091"/>
                </a:cubicBezTo>
                <a:cubicBezTo>
                  <a:pt x="1632" y="1095"/>
                  <a:pt x="1650" y="1065"/>
                  <a:pt x="1650" y="1065"/>
                </a:cubicBezTo>
                <a:cubicBezTo>
                  <a:pt x="1670" y="1036"/>
                  <a:pt x="1670" y="1036"/>
                  <a:pt x="1670" y="1036"/>
                </a:cubicBezTo>
                <a:cubicBezTo>
                  <a:pt x="1652" y="1078"/>
                  <a:pt x="1652" y="1078"/>
                  <a:pt x="1652" y="1078"/>
                </a:cubicBezTo>
                <a:cubicBezTo>
                  <a:pt x="1656" y="1094"/>
                  <a:pt x="1656" y="1094"/>
                  <a:pt x="1656" y="1094"/>
                </a:cubicBezTo>
                <a:cubicBezTo>
                  <a:pt x="1679" y="1086"/>
                  <a:pt x="1679" y="1086"/>
                  <a:pt x="1679" y="1086"/>
                </a:cubicBezTo>
                <a:cubicBezTo>
                  <a:pt x="1664" y="1102"/>
                  <a:pt x="1664" y="1102"/>
                  <a:pt x="1664" y="1102"/>
                </a:cubicBezTo>
                <a:cubicBezTo>
                  <a:pt x="1681" y="1117"/>
                  <a:pt x="1681" y="1117"/>
                  <a:pt x="1681" y="1117"/>
                </a:cubicBezTo>
                <a:cubicBezTo>
                  <a:pt x="1669" y="1114"/>
                  <a:pt x="1669" y="1114"/>
                  <a:pt x="1669" y="1114"/>
                </a:cubicBezTo>
                <a:cubicBezTo>
                  <a:pt x="1667" y="1126"/>
                  <a:pt x="1667" y="1126"/>
                  <a:pt x="1667" y="1126"/>
                </a:cubicBezTo>
                <a:cubicBezTo>
                  <a:pt x="1648" y="1139"/>
                  <a:pt x="1648" y="1139"/>
                  <a:pt x="1648" y="1139"/>
                </a:cubicBezTo>
                <a:cubicBezTo>
                  <a:pt x="1636" y="1149"/>
                  <a:pt x="1636" y="1149"/>
                  <a:pt x="1636" y="1149"/>
                </a:cubicBezTo>
                <a:cubicBezTo>
                  <a:pt x="1657" y="1160"/>
                  <a:pt x="1657" y="1160"/>
                  <a:pt x="1657" y="1160"/>
                </a:cubicBezTo>
                <a:cubicBezTo>
                  <a:pt x="1654" y="1181"/>
                  <a:pt x="1654" y="1181"/>
                  <a:pt x="1654" y="1181"/>
                </a:cubicBezTo>
                <a:cubicBezTo>
                  <a:pt x="1642" y="1193"/>
                  <a:pt x="1642" y="1193"/>
                  <a:pt x="1642" y="1193"/>
                </a:cubicBezTo>
                <a:cubicBezTo>
                  <a:pt x="1654" y="1198"/>
                  <a:pt x="1654" y="1198"/>
                  <a:pt x="1654" y="1198"/>
                </a:cubicBezTo>
                <a:cubicBezTo>
                  <a:pt x="1639" y="1212"/>
                  <a:pt x="1639" y="1212"/>
                  <a:pt x="1639" y="1212"/>
                </a:cubicBezTo>
                <a:cubicBezTo>
                  <a:pt x="1660" y="1212"/>
                  <a:pt x="1660" y="1212"/>
                  <a:pt x="1660" y="1212"/>
                </a:cubicBezTo>
                <a:cubicBezTo>
                  <a:pt x="1685" y="1203"/>
                  <a:pt x="1685" y="1203"/>
                  <a:pt x="1685" y="1203"/>
                </a:cubicBezTo>
                <a:cubicBezTo>
                  <a:pt x="1663" y="1229"/>
                  <a:pt x="1663" y="1229"/>
                  <a:pt x="1663" y="1229"/>
                </a:cubicBezTo>
                <a:cubicBezTo>
                  <a:pt x="1652" y="1239"/>
                  <a:pt x="1652" y="1239"/>
                  <a:pt x="1652" y="1239"/>
                </a:cubicBezTo>
                <a:cubicBezTo>
                  <a:pt x="1667" y="1244"/>
                  <a:pt x="1667" y="1244"/>
                  <a:pt x="1667" y="1244"/>
                </a:cubicBezTo>
                <a:cubicBezTo>
                  <a:pt x="1637" y="1256"/>
                  <a:pt x="1637" y="1256"/>
                  <a:pt x="1637" y="1256"/>
                </a:cubicBezTo>
                <a:cubicBezTo>
                  <a:pt x="1623" y="1264"/>
                  <a:pt x="1623" y="1264"/>
                  <a:pt x="1623" y="1264"/>
                </a:cubicBezTo>
                <a:cubicBezTo>
                  <a:pt x="1637" y="1270"/>
                  <a:pt x="1637" y="1270"/>
                  <a:pt x="1637" y="1270"/>
                </a:cubicBezTo>
                <a:cubicBezTo>
                  <a:pt x="1637" y="1270"/>
                  <a:pt x="1636" y="1273"/>
                  <a:pt x="1634" y="1277"/>
                </a:cubicBezTo>
                <a:cubicBezTo>
                  <a:pt x="1632" y="1282"/>
                  <a:pt x="1631" y="1287"/>
                  <a:pt x="1630" y="1291"/>
                </a:cubicBezTo>
                <a:cubicBezTo>
                  <a:pt x="1629" y="1298"/>
                  <a:pt x="1624" y="1312"/>
                  <a:pt x="1624" y="1312"/>
                </a:cubicBezTo>
                <a:cubicBezTo>
                  <a:pt x="1615" y="1318"/>
                  <a:pt x="1615" y="1318"/>
                  <a:pt x="1615" y="1318"/>
                </a:cubicBezTo>
                <a:cubicBezTo>
                  <a:pt x="1615" y="1318"/>
                  <a:pt x="1624" y="1322"/>
                  <a:pt x="1625" y="1329"/>
                </a:cubicBezTo>
                <a:cubicBezTo>
                  <a:pt x="1626" y="1336"/>
                  <a:pt x="1633" y="1339"/>
                  <a:pt x="1633" y="1339"/>
                </a:cubicBezTo>
                <a:cubicBezTo>
                  <a:pt x="1633" y="1339"/>
                  <a:pt x="1683" y="1300"/>
                  <a:pt x="1683" y="1309"/>
                </a:cubicBezTo>
                <a:cubicBezTo>
                  <a:pt x="1683" y="1318"/>
                  <a:pt x="1667" y="1319"/>
                  <a:pt x="1665" y="1324"/>
                </a:cubicBezTo>
                <a:cubicBezTo>
                  <a:pt x="1663" y="1329"/>
                  <a:pt x="1667" y="1339"/>
                  <a:pt x="1667" y="1339"/>
                </a:cubicBezTo>
                <a:cubicBezTo>
                  <a:pt x="1676" y="1346"/>
                  <a:pt x="1676" y="1346"/>
                  <a:pt x="1676" y="1346"/>
                </a:cubicBezTo>
                <a:cubicBezTo>
                  <a:pt x="1647" y="1345"/>
                  <a:pt x="1647" y="1345"/>
                  <a:pt x="1647" y="1345"/>
                </a:cubicBezTo>
                <a:cubicBezTo>
                  <a:pt x="1647" y="1345"/>
                  <a:pt x="1625" y="1372"/>
                  <a:pt x="1635" y="1373"/>
                </a:cubicBezTo>
                <a:cubicBezTo>
                  <a:pt x="1645" y="1374"/>
                  <a:pt x="1651" y="1380"/>
                  <a:pt x="1651" y="1380"/>
                </a:cubicBezTo>
                <a:cubicBezTo>
                  <a:pt x="1651" y="1380"/>
                  <a:pt x="1639" y="1401"/>
                  <a:pt x="1646" y="1398"/>
                </a:cubicBezTo>
                <a:cubicBezTo>
                  <a:pt x="1653" y="1395"/>
                  <a:pt x="1694" y="1367"/>
                  <a:pt x="1694" y="1367"/>
                </a:cubicBezTo>
                <a:cubicBezTo>
                  <a:pt x="1693" y="1376"/>
                  <a:pt x="1693" y="1376"/>
                  <a:pt x="1693" y="1376"/>
                </a:cubicBezTo>
                <a:cubicBezTo>
                  <a:pt x="1674" y="1387"/>
                  <a:pt x="1674" y="1387"/>
                  <a:pt x="1674" y="1387"/>
                </a:cubicBezTo>
                <a:cubicBezTo>
                  <a:pt x="1689" y="1393"/>
                  <a:pt x="1689" y="1393"/>
                  <a:pt x="1689" y="1393"/>
                </a:cubicBezTo>
                <a:cubicBezTo>
                  <a:pt x="1689" y="1393"/>
                  <a:pt x="1684" y="1413"/>
                  <a:pt x="1676" y="1411"/>
                </a:cubicBezTo>
                <a:cubicBezTo>
                  <a:pt x="1668" y="1409"/>
                  <a:pt x="1666" y="1400"/>
                  <a:pt x="1666" y="1400"/>
                </a:cubicBezTo>
                <a:cubicBezTo>
                  <a:pt x="1666" y="1400"/>
                  <a:pt x="1633" y="1410"/>
                  <a:pt x="1627" y="1416"/>
                </a:cubicBezTo>
                <a:cubicBezTo>
                  <a:pt x="1621" y="1422"/>
                  <a:pt x="1615" y="1430"/>
                  <a:pt x="1615" y="1430"/>
                </a:cubicBezTo>
                <a:cubicBezTo>
                  <a:pt x="1615" y="1430"/>
                  <a:pt x="1633" y="1425"/>
                  <a:pt x="1638" y="1425"/>
                </a:cubicBezTo>
                <a:cubicBezTo>
                  <a:pt x="1643" y="1425"/>
                  <a:pt x="1664" y="1425"/>
                  <a:pt x="1664" y="1425"/>
                </a:cubicBezTo>
                <a:cubicBezTo>
                  <a:pt x="1664" y="1425"/>
                  <a:pt x="1628" y="1434"/>
                  <a:pt x="1622" y="1437"/>
                </a:cubicBezTo>
                <a:cubicBezTo>
                  <a:pt x="1616" y="1440"/>
                  <a:pt x="1620" y="1448"/>
                  <a:pt x="1620" y="1448"/>
                </a:cubicBezTo>
                <a:cubicBezTo>
                  <a:pt x="1620" y="1448"/>
                  <a:pt x="1587" y="1436"/>
                  <a:pt x="1596" y="1450"/>
                </a:cubicBezTo>
                <a:cubicBezTo>
                  <a:pt x="1605" y="1464"/>
                  <a:pt x="1614" y="1468"/>
                  <a:pt x="1614" y="1468"/>
                </a:cubicBezTo>
                <a:cubicBezTo>
                  <a:pt x="1646" y="1457"/>
                  <a:pt x="1646" y="1457"/>
                  <a:pt x="1646" y="1457"/>
                </a:cubicBezTo>
                <a:cubicBezTo>
                  <a:pt x="1655" y="1472"/>
                  <a:pt x="1655" y="1472"/>
                  <a:pt x="1655" y="1472"/>
                </a:cubicBezTo>
                <a:cubicBezTo>
                  <a:pt x="1680" y="1458"/>
                  <a:pt x="1680" y="1458"/>
                  <a:pt x="1680" y="1458"/>
                </a:cubicBezTo>
                <a:cubicBezTo>
                  <a:pt x="1680" y="1458"/>
                  <a:pt x="1647" y="1492"/>
                  <a:pt x="1658" y="1491"/>
                </a:cubicBezTo>
                <a:cubicBezTo>
                  <a:pt x="1669" y="1490"/>
                  <a:pt x="1699" y="1467"/>
                  <a:pt x="1699" y="1467"/>
                </a:cubicBezTo>
                <a:cubicBezTo>
                  <a:pt x="1699" y="1467"/>
                  <a:pt x="1672" y="1497"/>
                  <a:pt x="1676" y="1497"/>
                </a:cubicBezTo>
                <a:cubicBezTo>
                  <a:pt x="1680" y="1497"/>
                  <a:pt x="1698" y="1492"/>
                  <a:pt x="1698" y="1492"/>
                </a:cubicBezTo>
                <a:cubicBezTo>
                  <a:pt x="1698" y="1492"/>
                  <a:pt x="1660" y="1521"/>
                  <a:pt x="1672" y="1522"/>
                </a:cubicBezTo>
                <a:cubicBezTo>
                  <a:pt x="1684" y="1523"/>
                  <a:pt x="1711" y="1503"/>
                  <a:pt x="1711" y="1503"/>
                </a:cubicBezTo>
                <a:cubicBezTo>
                  <a:pt x="1711" y="1503"/>
                  <a:pt x="1685" y="1531"/>
                  <a:pt x="1692" y="1533"/>
                </a:cubicBezTo>
                <a:cubicBezTo>
                  <a:pt x="1699" y="1535"/>
                  <a:pt x="1715" y="1539"/>
                  <a:pt x="1715" y="1542"/>
                </a:cubicBezTo>
                <a:cubicBezTo>
                  <a:pt x="1715" y="1544"/>
                  <a:pt x="1713" y="1561"/>
                  <a:pt x="1710" y="1574"/>
                </a:cubicBezTo>
                <a:cubicBezTo>
                  <a:pt x="1710" y="1574"/>
                  <a:pt x="1710" y="1574"/>
                  <a:pt x="1710" y="1574"/>
                </a:cubicBezTo>
                <a:cubicBezTo>
                  <a:pt x="1709" y="1581"/>
                  <a:pt x="1707" y="1587"/>
                  <a:pt x="1706" y="1589"/>
                </a:cubicBezTo>
                <a:cubicBezTo>
                  <a:pt x="1702" y="1595"/>
                  <a:pt x="1701" y="1619"/>
                  <a:pt x="1701" y="1619"/>
                </a:cubicBezTo>
                <a:cubicBezTo>
                  <a:pt x="1679" y="1631"/>
                  <a:pt x="1679" y="1631"/>
                  <a:pt x="1679" y="1631"/>
                </a:cubicBezTo>
                <a:cubicBezTo>
                  <a:pt x="1677" y="1643"/>
                  <a:pt x="1677" y="1643"/>
                  <a:pt x="1677" y="1643"/>
                </a:cubicBezTo>
                <a:cubicBezTo>
                  <a:pt x="1666" y="1658"/>
                  <a:pt x="1666" y="1658"/>
                  <a:pt x="1666" y="1658"/>
                </a:cubicBezTo>
                <a:cubicBezTo>
                  <a:pt x="1634" y="1669"/>
                  <a:pt x="1634" y="1669"/>
                  <a:pt x="1634" y="1669"/>
                </a:cubicBezTo>
                <a:cubicBezTo>
                  <a:pt x="1657" y="1656"/>
                  <a:pt x="1657" y="1656"/>
                  <a:pt x="1657" y="1656"/>
                </a:cubicBezTo>
                <a:cubicBezTo>
                  <a:pt x="1642" y="1654"/>
                  <a:pt x="1642" y="1654"/>
                  <a:pt x="1642" y="1654"/>
                </a:cubicBezTo>
                <a:cubicBezTo>
                  <a:pt x="1642" y="1654"/>
                  <a:pt x="1656" y="1634"/>
                  <a:pt x="1660" y="1631"/>
                </a:cubicBezTo>
                <a:cubicBezTo>
                  <a:pt x="1664" y="1628"/>
                  <a:pt x="1684" y="1614"/>
                  <a:pt x="1674" y="1614"/>
                </a:cubicBezTo>
                <a:cubicBezTo>
                  <a:pt x="1664" y="1614"/>
                  <a:pt x="1655" y="1616"/>
                  <a:pt x="1645" y="1615"/>
                </a:cubicBezTo>
                <a:cubicBezTo>
                  <a:pt x="1635" y="1614"/>
                  <a:pt x="1626" y="1596"/>
                  <a:pt x="1617" y="1600"/>
                </a:cubicBezTo>
                <a:cubicBezTo>
                  <a:pt x="1608" y="1604"/>
                  <a:pt x="1599" y="1596"/>
                  <a:pt x="1597" y="1617"/>
                </a:cubicBezTo>
                <a:cubicBezTo>
                  <a:pt x="1595" y="1638"/>
                  <a:pt x="1597" y="1650"/>
                  <a:pt x="1594" y="1652"/>
                </a:cubicBezTo>
                <a:cubicBezTo>
                  <a:pt x="1591" y="1654"/>
                  <a:pt x="1581" y="1669"/>
                  <a:pt x="1581" y="1669"/>
                </a:cubicBezTo>
                <a:cubicBezTo>
                  <a:pt x="1599" y="1673"/>
                  <a:pt x="1599" y="1673"/>
                  <a:pt x="1599" y="1673"/>
                </a:cubicBezTo>
                <a:cubicBezTo>
                  <a:pt x="1580" y="1676"/>
                  <a:pt x="1580" y="1676"/>
                  <a:pt x="1580" y="1676"/>
                </a:cubicBezTo>
                <a:cubicBezTo>
                  <a:pt x="1583" y="1687"/>
                  <a:pt x="1583" y="1687"/>
                  <a:pt x="1583" y="1687"/>
                </a:cubicBezTo>
                <a:cubicBezTo>
                  <a:pt x="1572" y="1704"/>
                  <a:pt x="1572" y="1704"/>
                  <a:pt x="1572" y="1704"/>
                </a:cubicBezTo>
                <a:cubicBezTo>
                  <a:pt x="1572" y="1704"/>
                  <a:pt x="1593" y="1712"/>
                  <a:pt x="1592" y="1716"/>
                </a:cubicBezTo>
                <a:cubicBezTo>
                  <a:pt x="1591" y="1720"/>
                  <a:pt x="1560" y="1714"/>
                  <a:pt x="1560" y="1714"/>
                </a:cubicBezTo>
                <a:cubicBezTo>
                  <a:pt x="1560" y="1714"/>
                  <a:pt x="1521" y="1774"/>
                  <a:pt x="1511" y="1786"/>
                </a:cubicBezTo>
                <a:cubicBezTo>
                  <a:pt x="1501" y="1798"/>
                  <a:pt x="1454" y="1854"/>
                  <a:pt x="1454" y="1854"/>
                </a:cubicBezTo>
                <a:cubicBezTo>
                  <a:pt x="1456" y="1869"/>
                  <a:pt x="1456" y="1869"/>
                  <a:pt x="1456" y="1869"/>
                </a:cubicBezTo>
                <a:cubicBezTo>
                  <a:pt x="1456" y="1869"/>
                  <a:pt x="1443" y="1871"/>
                  <a:pt x="1432" y="1883"/>
                </a:cubicBezTo>
                <a:cubicBezTo>
                  <a:pt x="1421" y="1895"/>
                  <a:pt x="1421" y="1913"/>
                  <a:pt x="1421" y="1913"/>
                </a:cubicBezTo>
                <a:cubicBezTo>
                  <a:pt x="1408" y="1926"/>
                  <a:pt x="1408" y="1926"/>
                  <a:pt x="1408" y="1926"/>
                </a:cubicBezTo>
                <a:cubicBezTo>
                  <a:pt x="1405" y="1960"/>
                  <a:pt x="1405" y="1960"/>
                  <a:pt x="1405" y="1960"/>
                </a:cubicBezTo>
                <a:cubicBezTo>
                  <a:pt x="1405" y="1960"/>
                  <a:pt x="1381" y="1992"/>
                  <a:pt x="1375" y="1998"/>
                </a:cubicBezTo>
                <a:cubicBezTo>
                  <a:pt x="1369" y="2004"/>
                  <a:pt x="1348" y="2016"/>
                  <a:pt x="1350" y="2027"/>
                </a:cubicBezTo>
                <a:cubicBezTo>
                  <a:pt x="1352" y="2038"/>
                  <a:pt x="1368" y="2045"/>
                  <a:pt x="1365" y="2055"/>
                </a:cubicBezTo>
                <a:cubicBezTo>
                  <a:pt x="1362" y="2065"/>
                  <a:pt x="1342" y="2089"/>
                  <a:pt x="1342" y="2101"/>
                </a:cubicBezTo>
                <a:cubicBezTo>
                  <a:pt x="1342" y="2113"/>
                  <a:pt x="1355" y="2154"/>
                  <a:pt x="1355" y="2154"/>
                </a:cubicBezTo>
                <a:cubicBezTo>
                  <a:pt x="1371" y="2144"/>
                  <a:pt x="1371" y="2144"/>
                  <a:pt x="1371" y="2144"/>
                </a:cubicBezTo>
                <a:cubicBezTo>
                  <a:pt x="1416" y="2148"/>
                  <a:pt x="1416" y="2148"/>
                  <a:pt x="1416" y="2148"/>
                </a:cubicBezTo>
                <a:cubicBezTo>
                  <a:pt x="1416" y="2148"/>
                  <a:pt x="1378" y="2148"/>
                  <a:pt x="1375" y="2154"/>
                </a:cubicBezTo>
                <a:cubicBezTo>
                  <a:pt x="1372" y="2160"/>
                  <a:pt x="1373" y="2174"/>
                  <a:pt x="1373" y="2174"/>
                </a:cubicBezTo>
                <a:cubicBezTo>
                  <a:pt x="1373" y="2174"/>
                  <a:pt x="1362" y="2159"/>
                  <a:pt x="1358" y="2165"/>
                </a:cubicBezTo>
                <a:cubicBezTo>
                  <a:pt x="1354" y="2171"/>
                  <a:pt x="1344" y="2190"/>
                  <a:pt x="1349" y="2198"/>
                </a:cubicBezTo>
                <a:cubicBezTo>
                  <a:pt x="1354" y="2206"/>
                  <a:pt x="1367" y="2206"/>
                  <a:pt x="1367" y="2206"/>
                </a:cubicBezTo>
                <a:cubicBezTo>
                  <a:pt x="1367" y="2206"/>
                  <a:pt x="1365" y="2227"/>
                  <a:pt x="1362" y="2227"/>
                </a:cubicBezTo>
                <a:cubicBezTo>
                  <a:pt x="1359" y="2227"/>
                  <a:pt x="1349" y="2239"/>
                  <a:pt x="1349" y="2248"/>
                </a:cubicBezTo>
                <a:cubicBezTo>
                  <a:pt x="1349" y="2257"/>
                  <a:pt x="1362" y="2272"/>
                  <a:pt x="1362" y="2272"/>
                </a:cubicBezTo>
                <a:cubicBezTo>
                  <a:pt x="1362" y="2272"/>
                  <a:pt x="1382" y="2302"/>
                  <a:pt x="1381" y="2309"/>
                </a:cubicBezTo>
                <a:cubicBezTo>
                  <a:pt x="1380" y="2316"/>
                  <a:pt x="1358" y="2338"/>
                  <a:pt x="1370" y="2342"/>
                </a:cubicBezTo>
                <a:cubicBezTo>
                  <a:pt x="1382" y="2346"/>
                  <a:pt x="1407" y="2346"/>
                  <a:pt x="1407" y="2346"/>
                </a:cubicBezTo>
                <a:cubicBezTo>
                  <a:pt x="1407" y="2346"/>
                  <a:pt x="1409" y="2367"/>
                  <a:pt x="1421" y="2367"/>
                </a:cubicBezTo>
                <a:cubicBezTo>
                  <a:pt x="1433" y="2367"/>
                  <a:pt x="1450" y="2361"/>
                  <a:pt x="1450" y="2361"/>
                </a:cubicBezTo>
                <a:cubicBezTo>
                  <a:pt x="1453" y="2380"/>
                  <a:pt x="1453" y="2380"/>
                  <a:pt x="1453" y="2380"/>
                </a:cubicBezTo>
                <a:cubicBezTo>
                  <a:pt x="1453" y="2380"/>
                  <a:pt x="1485" y="2391"/>
                  <a:pt x="1485" y="2406"/>
                </a:cubicBezTo>
                <a:cubicBezTo>
                  <a:pt x="1485" y="2414"/>
                  <a:pt x="1482" y="2428"/>
                  <a:pt x="1480" y="2440"/>
                </a:cubicBezTo>
                <a:cubicBezTo>
                  <a:pt x="1478" y="2450"/>
                  <a:pt x="1476" y="2458"/>
                  <a:pt x="1476" y="2463"/>
                </a:cubicBezTo>
                <a:cubicBezTo>
                  <a:pt x="1476" y="2474"/>
                  <a:pt x="1489" y="2492"/>
                  <a:pt x="1489" y="2492"/>
                </a:cubicBezTo>
                <a:cubicBezTo>
                  <a:pt x="1478" y="2499"/>
                  <a:pt x="1478" y="2499"/>
                  <a:pt x="1478" y="2499"/>
                </a:cubicBezTo>
                <a:cubicBezTo>
                  <a:pt x="1486" y="2514"/>
                  <a:pt x="1486" y="2514"/>
                  <a:pt x="1486" y="2514"/>
                </a:cubicBezTo>
                <a:cubicBezTo>
                  <a:pt x="1479" y="2524"/>
                  <a:pt x="1479" y="2524"/>
                  <a:pt x="1479" y="2524"/>
                </a:cubicBezTo>
                <a:cubicBezTo>
                  <a:pt x="1492" y="2535"/>
                  <a:pt x="1492" y="2535"/>
                  <a:pt x="1492" y="2535"/>
                </a:cubicBezTo>
                <a:cubicBezTo>
                  <a:pt x="1481" y="2555"/>
                  <a:pt x="1481" y="2555"/>
                  <a:pt x="1481" y="2555"/>
                </a:cubicBezTo>
                <a:cubicBezTo>
                  <a:pt x="1490" y="2559"/>
                  <a:pt x="1490" y="2559"/>
                  <a:pt x="1490" y="2559"/>
                </a:cubicBezTo>
                <a:cubicBezTo>
                  <a:pt x="1490" y="2559"/>
                  <a:pt x="1487" y="2600"/>
                  <a:pt x="1496" y="2609"/>
                </a:cubicBezTo>
                <a:cubicBezTo>
                  <a:pt x="1505" y="2618"/>
                  <a:pt x="1518" y="2614"/>
                  <a:pt x="1518" y="2614"/>
                </a:cubicBezTo>
                <a:cubicBezTo>
                  <a:pt x="1518" y="2614"/>
                  <a:pt x="1542" y="2657"/>
                  <a:pt x="1542" y="2665"/>
                </a:cubicBezTo>
                <a:cubicBezTo>
                  <a:pt x="1542" y="2673"/>
                  <a:pt x="1523" y="2698"/>
                  <a:pt x="1523" y="2698"/>
                </a:cubicBezTo>
                <a:cubicBezTo>
                  <a:pt x="1534" y="2705"/>
                  <a:pt x="1534" y="2705"/>
                  <a:pt x="1534" y="2705"/>
                </a:cubicBezTo>
                <a:cubicBezTo>
                  <a:pt x="1526" y="2714"/>
                  <a:pt x="1526" y="2714"/>
                  <a:pt x="1526" y="2714"/>
                </a:cubicBezTo>
                <a:cubicBezTo>
                  <a:pt x="1517" y="2702"/>
                  <a:pt x="1517" y="2702"/>
                  <a:pt x="1517" y="2702"/>
                </a:cubicBezTo>
                <a:cubicBezTo>
                  <a:pt x="1483" y="2699"/>
                  <a:pt x="1483" y="2699"/>
                  <a:pt x="1483" y="2699"/>
                </a:cubicBezTo>
                <a:cubicBezTo>
                  <a:pt x="1499" y="2717"/>
                  <a:pt x="1499" y="2717"/>
                  <a:pt x="1499" y="2717"/>
                </a:cubicBezTo>
                <a:cubicBezTo>
                  <a:pt x="1505" y="2733"/>
                  <a:pt x="1505" y="2733"/>
                  <a:pt x="1505" y="2733"/>
                </a:cubicBezTo>
                <a:cubicBezTo>
                  <a:pt x="1519" y="2734"/>
                  <a:pt x="1519" y="2734"/>
                  <a:pt x="1519" y="2734"/>
                </a:cubicBezTo>
                <a:cubicBezTo>
                  <a:pt x="1519" y="2734"/>
                  <a:pt x="1536" y="2757"/>
                  <a:pt x="1541" y="2755"/>
                </a:cubicBezTo>
                <a:cubicBezTo>
                  <a:pt x="1546" y="2753"/>
                  <a:pt x="1561" y="2743"/>
                  <a:pt x="1561" y="2743"/>
                </a:cubicBezTo>
                <a:cubicBezTo>
                  <a:pt x="1561" y="2743"/>
                  <a:pt x="1560" y="2766"/>
                  <a:pt x="1567" y="2775"/>
                </a:cubicBezTo>
                <a:cubicBezTo>
                  <a:pt x="1574" y="2784"/>
                  <a:pt x="1589" y="2796"/>
                  <a:pt x="1589" y="2806"/>
                </a:cubicBezTo>
                <a:cubicBezTo>
                  <a:pt x="1589" y="2816"/>
                  <a:pt x="1572" y="2836"/>
                  <a:pt x="1578" y="2850"/>
                </a:cubicBezTo>
                <a:cubicBezTo>
                  <a:pt x="1584" y="2864"/>
                  <a:pt x="1604" y="2880"/>
                  <a:pt x="1618" y="2897"/>
                </a:cubicBezTo>
                <a:cubicBezTo>
                  <a:pt x="1632" y="2914"/>
                  <a:pt x="1651" y="2935"/>
                  <a:pt x="1651" y="2935"/>
                </a:cubicBezTo>
                <a:cubicBezTo>
                  <a:pt x="1651" y="2935"/>
                  <a:pt x="1638" y="2962"/>
                  <a:pt x="1654" y="2963"/>
                </a:cubicBezTo>
                <a:cubicBezTo>
                  <a:pt x="1670" y="2964"/>
                  <a:pt x="1686" y="2944"/>
                  <a:pt x="1686" y="2944"/>
                </a:cubicBezTo>
                <a:cubicBezTo>
                  <a:pt x="1682" y="2931"/>
                  <a:pt x="1682" y="2931"/>
                  <a:pt x="1682" y="2931"/>
                </a:cubicBezTo>
                <a:cubicBezTo>
                  <a:pt x="1682" y="2931"/>
                  <a:pt x="1674" y="2895"/>
                  <a:pt x="1666" y="2891"/>
                </a:cubicBezTo>
                <a:cubicBezTo>
                  <a:pt x="1658" y="2887"/>
                  <a:pt x="1648" y="2890"/>
                  <a:pt x="1648" y="2890"/>
                </a:cubicBezTo>
                <a:cubicBezTo>
                  <a:pt x="1636" y="2873"/>
                  <a:pt x="1636" y="2873"/>
                  <a:pt x="1636" y="2873"/>
                </a:cubicBezTo>
                <a:cubicBezTo>
                  <a:pt x="1636" y="2873"/>
                  <a:pt x="1640" y="2860"/>
                  <a:pt x="1638" y="2852"/>
                </a:cubicBezTo>
                <a:cubicBezTo>
                  <a:pt x="1636" y="2844"/>
                  <a:pt x="1638" y="2825"/>
                  <a:pt x="1638" y="2825"/>
                </a:cubicBezTo>
                <a:cubicBezTo>
                  <a:pt x="1626" y="2803"/>
                  <a:pt x="1626" y="2803"/>
                  <a:pt x="1626" y="2803"/>
                </a:cubicBezTo>
                <a:cubicBezTo>
                  <a:pt x="1626" y="2803"/>
                  <a:pt x="1636" y="2779"/>
                  <a:pt x="1632" y="2767"/>
                </a:cubicBezTo>
                <a:cubicBezTo>
                  <a:pt x="1628" y="2755"/>
                  <a:pt x="1607" y="2757"/>
                  <a:pt x="1607" y="2757"/>
                </a:cubicBezTo>
                <a:cubicBezTo>
                  <a:pt x="1607" y="2726"/>
                  <a:pt x="1607" y="2726"/>
                  <a:pt x="1607" y="2726"/>
                </a:cubicBezTo>
                <a:cubicBezTo>
                  <a:pt x="1590" y="2705"/>
                  <a:pt x="1590" y="2705"/>
                  <a:pt x="1590" y="2705"/>
                </a:cubicBezTo>
                <a:cubicBezTo>
                  <a:pt x="1592" y="2665"/>
                  <a:pt x="1592" y="2665"/>
                  <a:pt x="1592" y="2665"/>
                </a:cubicBezTo>
                <a:cubicBezTo>
                  <a:pt x="1592" y="2665"/>
                  <a:pt x="1578" y="2645"/>
                  <a:pt x="1573" y="2639"/>
                </a:cubicBezTo>
                <a:cubicBezTo>
                  <a:pt x="1568" y="2633"/>
                  <a:pt x="1565" y="2608"/>
                  <a:pt x="1565" y="2608"/>
                </a:cubicBezTo>
                <a:cubicBezTo>
                  <a:pt x="1565" y="2608"/>
                  <a:pt x="1539" y="2570"/>
                  <a:pt x="1542" y="2566"/>
                </a:cubicBezTo>
                <a:cubicBezTo>
                  <a:pt x="1545" y="2562"/>
                  <a:pt x="1555" y="2545"/>
                  <a:pt x="1551" y="2533"/>
                </a:cubicBezTo>
                <a:cubicBezTo>
                  <a:pt x="1547" y="2521"/>
                  <a:pt x="1561" y="2505"/>
                  <a:pt x="1561" y="2505"/>
                </a:cubicBezTo>
                <a:cubicBezTo>
                  <a:pt x="1560" y="2480"/>
                  <a:pt x="1560" y="2480"/>
                  <a:pt x="1560" y="2480"/>
                </a:cubicBezTo>
                <a:cubicBezTo>
                  <a:pt x="1560" y="2480"/>
                  <a:pt x="1580" y="2500"/>
                  <a:pt x="1589" y="2500"/>
                </a:cubicBezTo>
                <a:cubicBezTo>
                  <a:pt x="1598" y="2500"/>
                  <a:pt x="1610" y="2496"/>
                  <a:pt x="1610" y="2496"/>
                </a:cubicBezTo>
                <a:cubicBezTo>
                  <a:pt x="1610" y="2496"/>
                  <a:pt x="1607" y="2507"/>
                  <a:pt x="1614" y="2511"/>
                </a:cubicBezTo>
                <a:cubicBezTo>
                  <a:pt x="1621" y="2515"/>
                  <a:pt x="1631" y="2515"/>
                  <a:pt x="1631" y="2515"/>
                </a:cubicBezTo>
                <a:cubicBezTo>
                  <a:pt x="1631" y="2515"/>
                  <a:pt x="1628" y="2526"/>
                  <a:pt x="1628" y="2544"/>
                </a:cubicBezTo>
                <a:cubicBezTo>
                  <a:pt x="1628" y="2562"/>
                  <a:pt x="1636" y="2618"/>
                  <a:pt x="1636" y="2618"/>
                </a:cubicBezTo>
                <a:cubicBezTo>
                  <a:pt x="1636" y="2618"/>
                  <a:pt x="1657" y="2693"/>
                  <a:pt x="1665" y="2695"/>
                </a:cubicBezTo>
                <a:cubicBezTo>
                  <a:pt x="1673" y="2697"/>
                  <a:pt x="1693" y="2695"/>
                  <a:pt x="1693" y="2695"/>
                </a:cubicBezTo>
                <a:cubicBezTo>
                  <a:pt x="1693" y="2695"/>
                  <a:pt x="1675" y="2706"/>
                  <a:pt x="1684" y="2722"/>
                </a:cubicBezTo>
                <a:cubicBezTo>
                  <a:pt x="1693" y="2738"/>
                  <a:pt x="1710" y="2740"/>
                  <a:pt x="1710" y="2740"/>
                </a:cubicBezTo>
                <a:cubicBezTo>
                  <a:pt x="1712" y="2755"/>
                  <a:pt x="1712" y="2755"/>
                  <a:pt x="1712" y="2755"/>
                </a:cubicBezTo>
                <a:cubicBezTo>
                  <a:pt x="1733" y="2756"/>
                  <a:pt x="1733" y="2756"/>
                  <a:pt x="1733" y="2756"/>
                </a:cubicBezTo>
                <a:cubicBezTo>
                  <a:pt x="1736" y="2784"/>
                  <a:pt x="1736" y="2784"/>
                  <a:pt x="1736" y="2784"/>
                </a:cubicBezTo>
                <a:cubicBezTo>
                  <a:pt x="1736" y="2784"/>
                  <a:pt x="1704" y="2797"/>
                  <a:pt x="1714" y="2812"/>
                </a:cubicBezTo>
                <a:cubicBezTo>
                  <a:pt x="1724" y="2827"/>
                  <a:pt x="1731" y="2813"/>
                  <a:pt x="1731" y="2813"/>
                </a:cubicBezTo>
                <a:cubicBezTo>
                  <a:pt x="1731" y="2813"/>
                  <a:pt x="1740" y="2833"/>
                  <a:pt x="1746" y="2835"/>
                </a:cubicBezTo>
                <a:cubicBezTo>
                  <a:pt x="1752" y="2837"/>
                  <a:pt x="1770" y="2839"/>
                  <a:pt x="1770" y="2842"/>
                </a:cubicBezTo>
                <a:cubicBezTo>
                  <a:pt x="1770" y="2845"/>
                  <a:pt x="1770" y="2856"/>
                  <a:pt x="1770" y="2856"/>
                </a:cubicBezTo>
                <a:cubicBezTo>
                  <a:pt x="1770" y="2856"/>
                  <a:pt x="1755" y="2875"/>
                  <a:pt x="1766" y="2876"/>
                </a:cubicBezTo>
                <a:cubicBezTo>
                  <a:pt x="1777" y="2877"/>
                  <a:pt x="1789" y="2875"/>
                  <a:pt x="1789" y="2875"/>
                </a:cubicBezTo>
                <a:cubicBezTo>
                  <a:pt x="1789" y="2894"/>
                  <a:pt x="1789" y="2894"/>
                  <a:pt x="1789" y="2894"/>
                </a:cubicBezTo>
                <a:cubicBezTo>
                  <a:pt x="1789" y="2894"/>
                  <a:pt x="1811" y="2919"/>
                  <a:pt x="1821" y="2933"/>
                </a:cubicBezTo>
                <a:cubicBezTo>
                  <a:pt x="1831" y="2947"/>
                  <a:pt x="1849" y="2976"/>
                  <a:pt x="1849" y="2985"/>
                </a:cubicBezTo>
                <a:cubicBezTo>
                  <a:pt x="1849" y="2994"/>
                  <a:pt x="1846" y="3000"/>
                  <a:pt x="1847" y="3013"/>
                </a:cubicBezTo>
                <a:cubicBezTo>
                  <a:pt x="1848" y="3026"/>
                  <a:pt x="1862" y="3033"/>
                  <a:pt x="1860" y="3044"/>
                </a:cubicBezTo>
                <a:cubicBezTo>
                  <a:pt x="1858" y="3055"/>
                  <a:pt x="1840" y="3063"/>
                  <a:pt x="1840" y="3070"/>
                </a:cubicBezTo>
                <a:cubicBezTo>
                  <a:pt x="1840" y="3077"/>
                  <a:pt x="1851" y="3083"/>
                  <a:pt x="1851" y="3083"/>
                </a:cubicBezTo>
                <a:cubicBezTo>
                  <a:pt x="1851" y="3083"/>
                  <a:pt x="1827" y="3080"/>
                  <a:pt x="1827" y="3097"/>
                </a:cubicBezTo>
                <a:cubicBezTo>
                  <a:pt x="1827" y="3114"/>
                  <a:pt x="1826" y="3155"/>
                  <a:pt x="1849" y="3157"/>
                </a:cubicBezTo>
                <a:cubicBezTo>
                  <a:pt x="1872" y="3159"/>
                  <a:pt x="1892" y="3165"/>
                  <a:pt x="1899" y="3178"/>
                </a:cubicBezTo>
                <a:cubicBezTo>
                  <a:pt x="1906" y="3191"/>
                  <a:pt x="1913" y="3217"/>
                  <a:pt x="1929" y="3219"/>
                </a:cubicBezTo>
                <a:cubicBezTo>
                  <a:pt x="1945" y="3221"/>
                  <a:pt x="1972" y="3215"/>
                  <a:pt x="1983" y="3226"/>
                </a:cubicBezTo>
                <a:cubicBezTo>
                  <a:pt x="1994" y="3237"/>
                  <a:pt x="2001" y="3263"/>
                  <a:pt x="2032" y="3276"/>
                </a:cubicBezTo>
                <a:cubicBezTo>
                  <a:pt x="2063" y="3289"/>
                  <a:pt x="2108" y="3289"/>
                  <a:pt x="2115" y="3299"/>
                </a:cubicBezTo>
                <a:cubicBezTo>
                  <a:pt x="2122" y="3309"/>
                  <a:pt x="2125" y="3319"/>
                  <a:pt x="2135" y="3319"/>
                </a:cubicBezTo>
                <a:cubicBezTo>
                  <a:pt x="2145" y="3319"/>
                  <a:pt x="2153" y="3337"/>
                  <a:pt x="2153" y="3337"/>
                </a:cubicBezTo>
                <a:cubicBezTo>
                  <a:pt x="2153" y="3337"/>
                  <a:pt x="2196" y="3332"/>
                  <a:pt x="2198" y="3335"/>
                </a:cubicBezTo>
                <a:cubicBezTo>
                  <a:pt x="2200" y="3338"/>
                  <a:pt x="2207" y="3359"/>
                  <a:pt x="2221" y="3355"/>
                </a:cubicBezTo>
                <a:cubicBezTo>
                  <a:pt x="2235" y="3351"/>
                  <a:pt x="2305" y="3313"/>
                  <a:pt x="2316" y="3316"/>
                </a:cubicBezTo>
                <a:cubicBezTo>
                  <a:pt x="2327" y="3319"/>
                  <a:pt x="2397" y="3376"/>
                  <a:pt x="2400" y="3384"/>
                </a:cubicBezTo>
                <a:cubicBezTo>
                  <a:pt x="2402" y="3389"/>
                  <a:pt x="2403" y="3402"/>
                  <a:pt x="2409" y="3412"/>
                </a:cubicBezTo>
                <a:cubicBezTo>
                  <a:pt x="2412" y="3418"/>
                  <a:pt x="2416" y="3422"/>
                  <a:pt x="2423" y="3425"/>
                </a:cubicBezTo>
                <a:cubicBezTo>
                  <a:pt x="2442" y="3432"/>
                  <a:pt x="2445" y="3442"/>
                  <a:pt x="2456" y="3446"/>
                </a:cubicBezTo>
                <a:cubicBezTo>
                  <a:pt x="2467" y="3450"/>
                  <a:pt x="2489" y="3446"/>
                  <a:pt x="2489" y="3446"/>
                </a:cubicBezTo>
                <a:cubicBezTo>
                  <a:pt x="2489" y="3446"/>
                  <a:pt x="2495" y="3450"/>
                  <a:pt x="2501" y="3455"/>
                </a:cubicBezTo>
                <a:cubicBezTo>
                  <a:pt x="2508" y="3460"/>
                  <a:pt x="2517" y="3466"/>
                  <a:pt x="2521" y="3468"/>
                </a:cubicBezTo>
                <a:cubicBezTo>
                  <a:pt x="2529" y="3471"/>
                  <a:pt x="2549" y="3469"/>
                  <a:pt x="2549" y="3469"/>
                </a:cubicBezTo>
                <a:cubicBezTo>
                  <a:pt x="2565" y="3482"/>
                  <a:pt x="2565" y="3482"/>
                  <a:pt x="2565" y="3482"/>
                </a:cubicBezTo>
                <a:cubicBezTo>
                  <a:pt x="2587" y="3480"/>
                  <a:pt x="2587" y="3480"/>
                  <a:pt x="2587" y="3480"/>
                </a:cubicBezTo>
                <a:cubicBezTo>
                  <a:pt x="2599" y="3490"/>
                  <a:pt x="2599" y="3490"/>
                  <a:pt x="2599" y="3490"/>
                </a:cubicBezTo>
                <a:cubicBezTo>
                  <a:pt x="2611" y="3471"/>
                  <a:pt x="2611" y="3471"/>
                  <a:pt x="2611" y="3471"/>
                </a:cubicBezTo>
                <a:cubicBezTo>
                  <a:pt x="2618" y="3473"/>
                  <a:pt x="2618" y="3473"/>
                  <a:pt x="2618" y="3473"/>
                </a:cubicBezTo>
                <a:cubicBezTo>
                  <a:pt x="2617" y="3473"/>
                  <a:pt x="2617" y="3473"/>
                  <a:pt x="2617" y="3473"/>
                </a:cubicBezTo>
                <a:cubicBezTo>
                  <a:pt x="2634" y="3478"/>
                  <a:pt x="2634" y="3478"/>
                  <a:pt x="2634" y="3478"/>
                </a:cubicBezTo>
                <a:cubicBezTo>
                  <a:pt x="2641" y="3488"/>
                  <a:pt x="2638" y="3496"/>
                  <a:pt x="2638" y="3496"/>
                </a:cubicBezTo>
                <a:cubicBezTo>
                  <a:pt x="2619" y="3496"/>
                  <a:pt x="2619" y="3496"/>
                  <a:pt x="2619" y="3496"/>
                </a:cubicBezTo>
                <a:cubicBezTo>
                  <a:pt x="2651" y="3530"/>
                  <a:pt x="2651" y="3530"/>
                  <a:pt x="2651" y="3530"/>
                </a:cubicBezTo>
                <a:cubicBezTo>
                  <a:pt x="2651" y="3530"/>
                  <a:pt x="2659" y="3561"/>
                  <a:pt x="2669" y="3569"/>
                </a:cubicBezTo>
                <a:cubicBezTo>
                  <a:pt x="2678" y="3576"/>
                  <a:pt x="2696" y="3590"/>
                  <a:pt x="2699" y="3593"/>
                </a:cubicBezTo>
                <a:cubicBezTo>
                  <a:pt x="2699" y="3593"/>
                  <a:pt x="2699" y="3593"/>
                  <a:pt x="2699" y="3593"/>
                </a:cubicBezTo>
                <a:cubicBezTo>
                  <a:pt x="2690" y="3610"/>
                  <a:pt x="2690" y="3610"/>
                  <a:pt x="2690" y="3610"/>
                </a:cubicBezTo>
                <a:cubicBezTo>
                  <a:pt x="2690" y="3610"/>
                  <a:pt x="2706" y="3619"/>
                  <a:pt x="2700" y="3623"/>
                </a:cubicBezTo>
                <a:cubicBezTo>
                  <a:pt x="2694" y="3627"/>
                  <a:pt x="2680" y="3637"/>
                  <a:pt x="2689" y="3651"/>
                </a:cubicBezTo>
                <a:cubicBezTo>
                  <a:pt x="2698" y="3665"/>
                  <a:pt x="2713" y="3663"/>
                  <a:pt x="2713" y="3663"/>
                </a:cubicBezTo>
                <a:cubicBezTo>
                  <a:pt x="2713" y="3663"/>
                  <a:pt x="2730" y="3683"/>
                  <a:pt x="2733" y="3676"/>
                </a:cubicBezTo>
                <a:cubicBezTo>
                  <a:pt x="2736" y="3669"/>
                  <a:pt x="2731" y="3658"/>
                  <a:pt x="2731" y="3658"/>
                </a:cubicBezTo>
                <a:cubicBezTo>
                  <a:pt x="2731" y="3658"/>
                  <a:pt x="2704" y="3640"/>
                  <a:pt x="2713" y="3640"/>
                </a:cubicBezTo>
                <a:cubicBezTo>
                  <a:pt x="2722" y="3640"/>
                  <a:pt x="2747" y="3661"/>
                  <a:pt x="2747" y="3661"/>
                </a:cubicBezTo>
                <a:cubicBezTo>
                  <a:pt x="2747" y="3661"/>
                  <a:pt x="2744" y="3680"/>
                  <a:pt x="2748" y="3680"/>
                </a:cubicBezTo>
                <a:cubicBezTo>
                  <a:pt x="2752" y="3680"/>
                  <a:pt x="2775" y="3685"/>
                  <a:pt x="2775" y="3685"/>
                </a:cubicBezTo>
                <a:cubicBezTo>
                  <a:pt x="2788" y="3712"/>
                  <a:pt x="2788" y="3712"/>
                  <a:pt x="2788" y="3712"/>
                </a:cubicBezTo>
                <a:cubicBezTo>
                  <a:pt x="2788" y="3712"/>
                  <a:pt x="2779" y="3720"/>
                  <a:pt x="2788" y="3729"/>
                </a:cubicBezTo>
                <a:cubicBezTo>
                  <a:pt x="2797" y="3738"/>
                  <a:pt x="2811" y="3741"/>
                  <a:pt x="2811" y="3741"/>
                </a:cubicBezTo>
                <a:cubicBezTo>
                  <a:pt x="2802" y="3724"/>
                  <a:pt x="2802" y="3724"/>
                  <a:pt x="2802" y="3724"/>
                </a:cubicBezTo>
                <a:cubicBezTo>
                  <a:pt x="2826" y="3748"/>
                  <a:pt x="2826" y="3748"/>
                  <a:pt x="2826" y="3748"/>
                </a:cubicBezTo>
                <a:cubicBezTo>
                  <a:pt x="2854" y="3742"/>
                  <a:pt x="2854" y="3742"/>
                  <a:pt x="2854" y="3742"/>
                </a:cubicBezTo>
                <a:cubicBezTo>
                  <a:pt x="2859" y="3754"/>
                  <a:pt x="2859" y="3754"/>
                  <a:pt x="2859" y="3754"/>
                </a:cubicBezTo>
                <a:cubicBezTo>
                  <a:pt x="2879" y="3753"/>
                  <a:pt x="2879" y="3753"/>
                  <a:pt x="2879" y="3753"/>
                </a:cubicBezTo>
                <a:cubicBezTo>
                  <a:pt x="2879" y="3753"/>
                  <a:pt x="2874" y="3775"/>
                  <a:pt x="2882" y="3780"/>
                </a:cubicBezTo>
                <a:cubicBezTo>
                  <a:pt x="2890" y="3785"/>
                  <a:pt x="2901" y="3775"/>
                  <a:pt x="2901" y="3775"/>
                </a:cubicBezTo>
                <a:cubicBezTo>
                  <a:pt x="2901" y="3762"/>
                  <a:pt x="2901" y="3762"/>
                  <a:pt x="2901" y="3762"/>
                </a:cubicBezTo>
                <a:cubicBezTo>
                  <a:pt x="2912" y="3761"/>
                  <a:pt x="2912" y="3761"/>
                  <a:pt x="2912" y="3761"/>
                </a:cubicBezTo>
                <a:cubicBezTo>
                  <a:pt x="2912" y="3761"/>
                  <a:pt x="2916" y="3814"/>
                  <a:pt x="2930" y="3807"/>
                </a:cubicBezTo>
                <a:cubicBezTo>
                  <a:pt x="2944" y="3800"/>
                  <a:pt x="2958" y="3791"/>
                  <a:pt x="2958" y="3791"/>
                </a:cubicBezTo>
                <a:cubicBezTo>
                  <a:pt x="2958" y="3791"/>
                  <a:pt x="2920" y="3764"/>
                  <a:pt x="2931" y="3754"/>
                </a:cubicBezTo>
                <a:cubicBezTo>
                  <a:pt x="2942" y="3744"/>
                  <a:pt x="2953" y="3743"/>
                  <a:pt x="2962" y="3735"/>
                </a:cubicBezTo>
                <a:cubicBezTo>
                  <a:pt x="2971" y="3727"/>
                  <a:pt x="2982" y="3707"/>
                  <a:pt x="2992" y="3709"/>
                </a:cubicBezTo>
                <a:cubicBezTo>
                  <a:pt x="3002" y="3711"/>
                  <a:pt x="3018" y="3716"/>
                  <a:pt x="3024" y="3720"/>
                </a:cubicBezTo>
                <a:cubicBezTo>
                  <a:pt x="3030" y="3724"/>
                  <a:pt x="3039" y="3739"/>
                  <a:pt x="3039" y="3739"/>
                </a:cubicBezTo>
                <a:cubicBezTo>
                  <a:pt x="3047" y="3736"/>
                  <a:pt x="3047" y="3736"/>
                  <a:pt x="3047" y="3736"/>
                </a:cubicBezTo>
                <a:cubicBezTo>
                  <a:pt x="3069" y="3754"/>
                  <a:pt x="3069" y="3754"/>
                  <a:pt x="3069" y="3754"/>
                </a:cubicBezTo>
                <a:cubicBezTo>
                  <a:pt x="3047" y="3744"/>
                  <a:pt x="3047" y="3744"/>
                  <a:pt x="3047" y="3744"/>
                </a:cubicBezTo>
                <a:cubicBezTo>
                  <a:pt x="3047" y="3744"/>
                  <a:pt x="3044" y="3773"/>
                  <a:pt x="3044" y="3779"/>
                </a:cubicBezTo>
                <a:cubicBezTo>
                  <a:pt x="3044" y="3784"/>
                  <a:pt x="3055" y="3797"/>
                  <a:pt x="3058" y="3801"/>
                </a:cubicBezTo>
                <a:cubicBezTo>
                  <a:pt x="3066" y="3816"/>
                  <a:pt x="3066" y="3816"/>
                  <a:pt x="3066" y="3816"/>
                </a:cubicBezTo>
                <a:cubicBezTo>
                  <a:pt x="3066" y="3823"/>
                  <a:pt x="3066" y="3823"/>
                  <a:pt x="3066" y="3823"/>
                </a:cubicBezTo>
                <a:cubicBezTo>
                  <a:pt x="3066" y="3823"/>
                  <a:pt x="3073" y="3828"/>
                  <a:pt x="3079" y="3840"/>
                </a:cubicBezTo>
                <a:cubicBezTo>
                  <a:pt x="3085" y="3852"/>
                  <a:pt x="3069" y="3853"/>
                  <a:pt x="3069" y="3853"/>
                </a:cubicBezTo>
                <a:cubicBezTo>
                  <a:pt x="3079" y="3868"/>
                  <a:pt x="3079" y="3868"/>
                  <a:pt x="3079" y="3868"/>
                </a:cubicBezTo>
                <a:cubicBezTo>
                  <a:pt x="3084" y="3890"/>
                  <a:pt x="3084" y="3890"/>
                  <a:pt x="3084" y="3890"/>
                </a:cubicBezTo>
                <a:cubicBezTo>
                  <a:pt x="3069" y="3893"/>
                  <a:pt x="3069" y="3893"/>
                  <a:pt x="3069" y="3893"/>
                </a:cubicBezTo>
                <a:cubicBezTo>
                  <a:pt x="3079" y="3906"/>
                  <a:pt x="3079" y="3906"/>
                  <a:pt x="3079" y="3906"/>
                </a:cubicBezTo>
                <a:cubicBezTo>
                  <a:pt x="3079" y="3946"/>
                  <a:pt x="3079" y="3946"/>
                  <a:pt x="3079" y="3946"/>
                </a:cubicBezTo>
                <a:cubicBezTo>
                  <a:pt x="3079" y="3946"/>
                  <a:pt x="3066" y="3956"/>
                  <a:pt x="3066" y="3969"/>
                </a:cubicBezTo>
                <a:cubicBezTo>
                  <a:pt x="3066" y="3982"/>
                  <a:pt x="3083" y="3982"/>
                  <a:pt x="3084" y="3997"/>
                </a:cubicBezTo>
                <a:cubicBezTo>
                  <a:pt x="3085" y="4012"/>
                  <a:pt x="3057" y="4029"/>
                  <a:pt x="3057" y="4029"/>
                </a:cubicBezTo>
                <a:cubicBezTo>
                  <a:pt x="3066" y="4037"/>
                  <a:pt x="3066" y="4037"/>
                  <a:pt x="3066" y="4037"/>
                </a:cubicBezTo>
                <a:cubicBezTo>
                  <a:pt x="3047" y="4054"/>
                  <a:pt x="3047" y="4054"/>
                  <a:pt x="3047" y="4054"/>
                </a:cubicBezTo>
                <a:cubicBezTo>
                  <a:pt x="3047" y="4054"/>
                  <a:pt x="3026" y="4054"/>
                  <a:pt x="3018" y="4063"/>
                </a:cubicBezTo>
                <a:cubicBezTo>
                  <a:pt x="3010" y="4073"/>
                  <a:pt x="3018" y="4095"/>
                  <a:pt x="3018" y="4095"/>
                </a:cubicBezTo>
                <a:cubicBezTo>
                  <a:pt x="3018" y="4095"/>
                  <a:pt x="2993" y="4087"/>
                  <a:pt x="2992" y="4101"/>
                </a:cubicBezTo>
                <a:cubicBezTo>
                  <a:pt x="2992" y="4103"/>
                  <a:pt x="2992" y="4105"/>
                  <a:pt x="2992" y="4107"/>
                </a:cubicBezTo>
                <a:cubicBezTo>
                  <a:pt x="2993" y="4117"/>
                  <a:pt x="2999" y="4121"/>
                  <a:pt x="2995" y="4130"/>
                </a:cubicBezTo>
                <a:cubicBezTo>
                  <a:pt x="2992" y="4139"/>
                  <a:pt x="2962" y="4144"/>
                  <a:pt x="2962" y="4144"/>
                </a:cubicBezTo>
                <a:cubicBezTo>
                  <a:pt x="2960" y="4134"/>
                  <a:pt x="2960" y="4134"/>
                  <a:pt x="2960" y="4134"/>
                </a:cubicBezTo>
                <a:cubicBezTo>
                  <a:pt x="2960" y="4134"/>
                  <a:pt x="2940" y="4145"/>
                  <a:pt x="2938" y="4153"/>
                </a:cubicBezTo>
                <a:cubicBezTo>
                  <a:pt x="2935" y="4161"/>
                  <a:pt x="2945" y="4171"/>
                  <a:pt x="2943" y="4184"/>
                </a:cubicBezTo>
                <a:cubicBezTo>
                  <a:pt x="2942" y="4197"/>
                  <a:pt x="2929" y="4196"/>
                  <a:pt x="2925" y="4204"/>
                </a:cubicBezTo>
                <a:cubicBezTo>
                  <a:pt x="2920" y="4212"/>
                  <a:pt x="2933" y="4226"/>
                  <a:pt x="2933" y="4226"/>
                </a:cubicBezTo>
                <a:cubicBezTo>
                  <a:pt x="2921" y="4226"/>
                  <a:pt x="2921" y="4226"/>
                  <a:pt x="2921" y="4226"/>
                </a:cubicBezTo>
                <a:cubicBezTo>
                  <a:pt x="2920" y="4237"/>
                  <a:pt x="2920" y="4237"/>
                  <a:pt x="2920" y="4237"/>
                </a:cubicBezTo>
                <a:cubicBezTo>
                  <a:pt x="2897" y="4251"/>
                  <a:pt x="2897" y="4251"/>
                  <a:pt x="2897" y="4251"/>
                </a:cubicBezTo>
                <a:cubicBezTo>
                  <a:pt x="2913" y="4261"/>
                  <a:pt x="2913" y="4261"/>
                  <a:pt x="2913" y="4261"/>
                </a:cubicBezTo>
                <a:cubicBezTo>
                  <a:pt x="2902" y="4280"/>
                  <a:pt x="2902" y="4280"/>
                  <a:pt x="2902" y="4280"/>
                </a:cubicBezTo>
                <a:cubicBezTo>
                  <a:pt x="2902" y="4280"/>
                  <a:pt x="2913" y="4283"/>
                  <a:pt x="2912" y="4294"/>
                </a:cubicBezTo>
                <a:cubicBezTo>
                  <a:pt x="2910" y="4305"/>
                  <a:pt x="2897" y="4308"/>
                  <a:pt x="2897" y="4308"/>
                </a:cubicBezTo>
                <a:cubicBezTo>
                  <a:pt x="2906" y="4314"/>
                  <a:pt x="2906" y="4314"/>
                  <a:pt x="2906" y="4314"/>
                </a:cubicBezTo>
                <a:cubicBezTo>
                  <a:pt x="2906" y="4314"/>
                  <a:pt x="2894" y="4328"/>
                  <a:pt x="2916" y="4335"/>
                </a:cubicBezTo>
                <a:cubicBezTo>
                  <a:pt x="2939" y="4342"/>
                  <a:pt x="2942" y="4321"/>
                  <a:pt x="2942" y="4321"/>
                </a:cubicBezTo>
                <a:cubicBezTo>
                  <a:pt x="2959" y="4326"/>
                  <a:pt x="2959" y="4326"/>
                  <a:pt x="2959" y="4326"/>
                </a:cubicBezTo>
                <a:cubicBezTo>
                  <a:pt x="2967" y="4334"/>
                  <a:pt x="2958" y="4353"/>
                  <a:pt x="2955" y="4365"/>
                </a:cubicBezTo>
                <a:cubicBezTo>
                  <a:pt x="2953" y="4377"/>
                  <a:pt x="2930" y="4378"/>
                  <a:pt x="2930" y="4378"/>
                </a:cubicBezTo>
                <a:cubicBezTo>
                  <a:pt x="2930" y="4378"/>
                  <a:pt x="2904" y="4406"/>
                  <a:pt x="2896" y="4413"/>
                </a:cubicBezTo>
                <a:cubicBezTo>
                  <a:pt x="2888" y="4420"/>
                  <a:pt x="2887" y="4431"/>
                  <a:pt x="2887" y="4444"/>
                </a:cubicBezTo>
                <a:cubicBezTo>
                  <a:pt x="2887" y="4457"/>
                  <a:pt x="2899" y="4454"/>
                  <a:pt x="2899" y="4454"/>
                </a:cubicBezTo>
                <a:cubicBezTo>
                  <a:pt x="2896" y="4472"/>
                  <a:pt x="2896" y="4472"/>
                  <a:pt x="2896" y="4472"/>
                </a:cubicBezTo>
                <a:cubicBezTo>
                  <a:pt x="2896" y="4472"/>
                  <a:pt x="2913" y="4482"/>
                  <a:pt x="2914" y="4494"/>
                </a:cubicBezTo>
                <a:cubicBezTo>
                  <a:pt x="2915" y="4506"/>
                  <a:pt x="2895" y="4507"/>
                  <a:pt x="2895" y="4521"/>
                </a:cubicBezTo>
                <a:cubicBezTo>
                  <a:pt x="2895" y="4535"/>
                  <a:pt x="2929" y="4537"/>
                  <a:pt x="2938" y="4542"/>
                </a:cubicBezTo>
                <a:cubicBezTo>
                  <a:pt x="2946" y="4547"/>
                  <a:pt x="2969" y="4579"/>
                  <a:pt x="2972" y="4584"/>
                </a:cubicBezTo>
                <a:cubicBezTo>
                  <a:pt x="2974" y="4588"/>
                  <a:pt x="2986" y="4608"/>
                  <a:pt x="2986" y="4614"/>
                </a:cubicBezTo>
                <a:cubicBezTo>
                  <a:pt x="2986" y="4620"/>
                  <a:pt x="3010" y="4646"/>
                  <a:pt x="3013" y="4652"/>
                </a:cubicBezTo>
                <a:cubicBezTo>
                  <a:pt x="3017" y="4658"/>
                  <a:pt x="3051" y="4712"/>
                  <a:pt x="3051" y="4712"/>
                </a:cubicBezTo>
                <a:cubicBezTo>
                  <a:pt x="3056" y="4737"/>
                  <a:pt x="3056" y="4737"/>
                  <a:pt x="3056" y="4737"/>
                </a:cubicBezTo>
                <a:cubicBezTo>
                  <a:pt x="3056" y="4737"/>
                  <a:pt x="3084" y="4792"/>
                  <a:pt x="3084" y="4799"/>
                </a:cubicBezTo>
                <a:cubicBezTo>
                  <a:pt x="3084" y="4806"/>
                  <a:pt x="3092" y="4806"/>
                  <a:pt x="3101" y="4812"/>
                </a:cubicBezTo>
                <a:cubicBezTo>
                  <a:pt x="3109" y="4818"/>
                  <a:pt x="3105" y="4825"/>
                  <a:pt x="3107" y="4837"/>
                </a:cubicBezTo>
                <a:cubicBezTo>
                  <a:pt x="3108" y="4848"/>
                  <a:pt x="3142" y="4889"/>
                  <a:pt x="3154" y="4905"/>
                </a:cubicBezTo>
                <a:cubicBezTo>
                  <a:pt x="3166" y="4922"/>
                  <a:pt x="3157" y="4944"/>
                  <a:pt x="3157" y="4952"/>
                </a:cubicBezTo>
                <a:cubicBezTo>
                  <a:pt x="3157" y="4961"/>
                  <a:pt x="3180" y="4986"/>
                  <a:pt x="3191" y="4993"/>
                </a:cubicBezTo>
                <a:cubicBezTo>
                  <a:pt x="3201" y="5000"/>
                  <a:pt x="3211" y="5016"/>
                  <a:pt x="3219" y="5025"/>
                </a:cubicBezTo>
                <a:cubicBezTo>
                  <a:pt x="3227" y="5033"/>
                  <a:pt x="3273" y="5051"/>
                  <a:pt x="3287" y="5059"/>
                </a:cubicBezTo>
                <a:cubicBezTo>
                  <a:pt x="3302" y="5067"/>
                  <a:pt x="3329" y="5073"/>
                  <a:pt x="3350" y="5091"/>
                </a:cubicBezTo>
                <a:cubicBezTo>
                  <a:pt x="3371" y="5109"/>
                  <a:pt x="3403" y="5129"/>
                  <a:pt x="3403" y="5129"/>
                </a:cubicBezTo>
                <a:cubicBezTo>
                  <a:pt x="3409" y="5144"/>
                  <a:pt x="3409" y="5144"/>
                  <a:pt x="3409" y="5144"/>
                </a:cubicBezTo>
                <a:cubicBezTo>
                  <a:pt x="3409" y="5144"/>
                  <a:pt x="3420" y="5152"/>
                  <a:pt x="3427" y="5158"/>
                </a:cubicBezTo>
                <a:cubicBezTo>
                  <a:pt x="3434" y="5164"/>
                  <a:pt x="3461" y="5182"/>
                  <a:pt x="3461" y="5182"/>
                </a:cubicBezTo>
                <a:cubicBezTo>
                  <a:pt x="3461" y="5183"/>
                  <a:pt x="3461" y="5183"/>
                  <a:pt x="3461" y="5183"/>
                </a:cubicBezTo>
                <a:cubicBezTo>
                  <a:pt x="3460" y="5209"/>
                  <a:pt x="3460" y="5209"/>
                  <a:pt x="3460" y="5209"/>
                </a:cubicBezTo>
                <a:cubicBezTo>
                  <a:pt x="3460" y="5209"/>
                  <a:pt x="3473" y="5236"/>
                  <a:pt x="3479" y="5256"/>
                </a:cubicBezTo>
                <a:cubicBezTo>
                  <a:pt x="3485" y="5276"/>
                  <a:pt x="3484" y="5306"/>
                  <a:pt x="3484" y="5319"/>
                </a:cubicBezTo>
                <a:cubicBezTo>
                  <a:pt x="3484" y="5332"/>
                  <a:pt x="3492" y="5343"/>
                  <a:pt x="3493" y="5366"/>
                </a:cubicBezTo>
                <a:cubicBezTo>
                  <a:pt x="3494" y="5390"/>
                  <a:pt x="3494" y="5427"/>
                  <a:pt x="3494" y="5427"/>
                </a:cubicBezTo>
                <a:cubicBezTo>
                  <a:pt x="3480" y="5435"/>
                  <a:pt x="3480" y="5435"/>
                  <a:pt x="3480" y="5435"/>
                </a:cubicBezTo>
                <a:cubicBezTo>
                  <a:pt x="3483" y="5455"/>
                  <a:pt x="3483" y="5455"/>
                  <a:pt x="3483" y="5455"/>
                </a:cubicBezTo>
                <a:cubicBezTo>
                  <a:pt x="3498" y="5464"/>
                  <a:pt x="3498" y="5464"/>
                  <a:pt x="3498" y="5464"/>
                </a:cubicBezTo>
                <a:cubicBezTo>
                  <a:pt x="3492" y="5526"/>
                  <a:pt x="3492" y="5526"/>
                  <a:pt x="3492" y="5526"/>
                </a:cubicBezTo>
                <a:cubicBezTo>
                  <a:pt x="3507" y="5554"/>
                  <a:pt x="3507" y="5554"/>
                  <a:pt x="3507" y="5554"/>
                </a:cubicBezTo>
                <a:cubicBezTo>
                  <a:pt x="3496" y="5567"/>
                  <a:pt x="3496" y="5567"/>
                  <a:pt x="3496" y="5567"/>
                </a:cubicBezTo>
                <a:cubicBezTo>
                  <a:pt x="3502" y="5609"/>
                  <a:pt x="3502" y="5609"/>
                  <a:pt x="3502" y="5609"/>
                </a:cubicBezTo>
                <a:cubicBezTo>
                  <a:pt x="3502" y="5609"/>
                  <a:pt x="3509" y="5612"/>
                  <a:pt x="3511" y="5629"/>
                </a:cubicBezTo>
                <a:cubicBezTo>
                  <a:pt x="3513" y="5645"/>
                  <a:pt x="3502" y="5646"/>
                  <a:pt x="3502" y="5646"/>
                </a:cubicBezTo>
                <a:cubicBezTo>
                  <a:pt x="3500" y="5668"/>
                  <a:pt x="3500" y="5668"/>
                  <a:pt x="3500" y="5668"/>
                </a:cubicBezTo>
                <a:cubicBezTo>
                  <a:pt x="3507" y="5677"/>
                  <a:pt x="3507" y="5677"/>
                  <a:pt x="3507" y="5677"/>
                </a:cubicBezTo>
                <a:cubicBezTo>
                  <a:pt x="3507" y="5677"/>
                  <a:pt x="3500" y="5682"/>
                  <a:pt x="3494" y="5696"/>
                </a:cubicBezTo>
                <a:cubicBezTo>
                  <a:pt x="3488" y="5710"/>
                  <a:pt x="3500" y="5708"/>
                  <a:pt x="3500" y="5708"/>
                </a:cubicBezTo>
                <a:cubicBezTo>
                  <a:pt x="3500" y="5708"/>
                  <a:pt x="3504" y="5717"/>
                  <a:pt x="3504" y="5728"/>
                </a:cubicBezTo>
                <a:cubicBezTo>
                  <a:pt x="3504" y="5739"/>
                  <a:pt x="3493" y="5736"/>
                  <a:pt x="3493" y="5756"/>
                </a:cubicBezTo>
                <a:cubicBezTo>
                  <a:pt x="3493" y="5777"/>
                  <a:pt x="3509" y="5775"/>
                  <a:pt x="3512" y="5785"/>
                </a:cubicBezTo>
                <a:cubicBezTo>
                  <a:pt x="3516" y="5794"/>
                  <a:pt x="3512" y="5818"/>
                  <a:pt x="3512" y="5818"/>
                </a:cubicBezTo>
                <a:cubicBezTo>
                  <a:pt x="3512" y="5818"/>
                  <a:pt x="3505" y="5816"/>
                  <a:pt x="3500" y="5818"/>
                </a:cubicBezTo>
                <a:cubicBezTo>
                  <a:pt x="3496" y="5820"/>
                  <a:pt x="3500" y="5837"/>
                  <a:pt x="3507" y="5857"/>
                </a:cubicBezTo>
                <a:cubicBezTo>
                  <a:pt x="3515" y="5877"/>
                  <a:pt x="3526" y="5907"/>
                  <a:pt x="3526" y="5907"/>
                </a:cubicBezTo>
                <a:cubicBezTo>
                  <a:pt x="3526" y="5907"/>
                  <a:pt x="3529" y="5921"/>
                  <a:pt x="3536" y="5927"/>
                </a:cubicBezTo>
                <a:cubicBezTo>
                  <a:pt x="3543" y="5933"/>
                  <a:pt x="3539" y="5963"/>
                  <a:pt x="3539" y="5963"/>
                </a:cubicBezTo>
                <a:cubicBezTo>
                  <a:pt x="3536" y="5982"/>
                  <a:pt x="3536" y="5982"/>
                  <a:pt x="3536" y="5982"/>
                </a:cubicBezTo>
                <a:cubicBezTo>
                  <a:pt x="3552" y="5999"/>
                  <a:pt x="3552" y="5999"/>
                  <a:pt x="3552" y="5999"/>
                </a:cubicBezTo>
                <a:cubicBezTo>
                  <a:pt x="3552" y="5999"/>
                  <a:pt x="3542" y="6026"/>
                  <a:pt x="3542" y="6040"/>
                </a:cubicBezTo>
                <a:cubicBezTo>
                  <a:pt x="3542" y="6054"/>
                  <a:pt x="3542" y="6084"/>
                  <a:pt x="3542" y="6084"/>
                </a:cubicBezTo>
                <a:cubicBezTo>
                  <a:pt x="3526" y="6109"/>
                  <a:pt x="3526" y="6109"/>
                  <a:pt x="3526" y="6109"/>
                </a:cubicBezTo>
                <a:cubicBezTo>
                  <a:pt x="3536" y="6116"/>
                  <a:pt x="3536" y="6116"/>
                  <a:pt x="3536" y="6116"/>
                </a:cubicBezTo>
                <a:cubicBezTo>
                  <a:pt x="3536" y="6116"/>
                  <a:pt x="3532" y="6132"/>
                  <a:pt x="3532" y="6141"/>
                </a:cubicBezTo>
                <a:cubicBezTo>
                  <a:pt x="3532" y="6149"/>
                  <a:pt x="3526" y="6193"/>
                  <a:pt x="3526" y="6193"/>
                </a:cubicBezTo>
                <a:cubicBezTo>
                  <a:pt x="3516" y="6195"/>
                  <a:pt x="3516" y="6195"/>
                  <a:pt x="3516" y="6195"/>
                </a:cubicBezTo>
                <a:cubicBezTo>
                  <a:pt x="3516" y="6209"/>
                  <a:pt x="3516" y="6209"/>
                  <a:pt x="3516" y="6209"/>
                </a:cubicBezTo>
                <a:cubicBezTo>
                  <a:pt x="3532" y="6239"/>
                  <a:pt x="3532" y="6239"/>
                  <a:pt x="3532" y="6239"/>
                </a:cubicBezTo>
                <a:cubicBezTo>
                  <a:pt x="3532" y="6239"/>
                  <a:pt x="3532" y="6258"/>
                  <a:pt x="3532" y="6268"/>
                </a:cubicBezTo>
                <a:cubicBezTo>
                  <a:pt x="3532" y="6279"/>
                  <a:pt x="3555" y="6286"/>
                  <a:pt x="3561" y="6302"/>
                </a:cubicBezTo>
                <a:cubicBezTo>
                  <a:pt x="3567" y="6317"/>
                  <a:pt x="3558" y="6355"/>
                  <a:pt x="3558" y="6355"/>
                </a:cubicBezTo>
                <a:cubicBezTo>
                  <a:pt x="3567" y="6362"/>
                  <a:pt x="3567" y="6362"/>
                  <a:pt x="3567" y="6362"/>
                </a:cubicBezTo>
                <a:cubicBezTo>
                  <a:pt x="3567" y="6362"/>
                  <a:pt x="3567" y="6391"/>
                  <a:pt x="3567" y="6403"/>
                </a:cubicBezTo>
                <a:cubicBezTo>
                  <a:pt x="3567" y="6415"/>
                  <a:pt x="3594" y="6423"/>
                  <a:pt x="3594" y="6423"/>
                </a:cubicBezTo>
                <a:cubicBezTo>
                  <a:pt x="3589" y="6436"/>
                  <a:pt x="3589" y="6436"/>
                  <a:pt x="3589" y="6436"/>
                </a:cubicBezTo>
                <a:cubicBezTo>
                  <a:pt x="3616" y="6436"/>
                  <a:pt x="3616" y="6436"/>
                  <a:pt x="3616" y="6436"/>
                </a:cubicBezTo>
                <a:cubicBezTo>
                  <a:pt x="3616" y="6416"/>
                  <a:pt x="3616" y="6416"/>
                  <a:pt x="3616" y="6416"/>
                </a:cubicBezTo>
                <a:cubicBezTo>
                  <a:pt x="3616" y="6416"/>
                  <a:pt x="3629" y="6426"/>
                  <a:pt x="3637" y="6427"/>
                </a:cubicBezTo>
                <a:cubicBezTo>
                  <a:pt x="3646" y="6428"/>
                  <a:pt x="3646" y="6414"/>
                  <a:pt x="3646" y="6414"/>
                </a:cubicBezTo>
                <a:cubicBezTo>
                  <a:pt x="3652" y="6427"/>
                  <a:pt x="3652" y="6427"/>
                  <a:pt x="3652" y="6427"/>
                </a:cubicBezTo>
                <a:cubicBezTo>
                  <a:pt x="3652" y="6427"/>
                  <a:pt x="3635" y="6437"/>
                  <a:pt x="3633" y="6448"/>
                </a:cubicBezTo>
                <a:cubicBezTo>
                  <a:pt x="3630" y="6459"/>
                  <a:pt x="3646" y="6447"/>
                  <a:pt x="3653" y="6450"/>
                </a:cubicBezTo>
                <a:cubicBezTo>
                  <a:pt x="3660" y="6454"/>
                  <a:pt x="3658" y="6467"/>
                  <a:pt x="3658" y="6467"/>
                </a:cubicBezTo>
                <a:cubicBezTo>
                  <a:pt x="3639" y="6465"/>
                  <a:pt x="3639" y="6465"/>
                  <a:pt x="3639" y="6465"/>
                </a:cubicBezTo>
                <a:cubicBezTo>
                  <a:pt x="3650" y="6478"/>
                  <a:pt x="3650" y="6478"/>
                  <a:pt x="3650" y="6478"/>
                </a:cubicBezTo>
                <a:cubicBezTo>
                  <a:pt x="3643" y="6486"/>
                  <a:pt x="3643" y="6486"/>
                  <a:pt x="3643" y="6486"/>
                </a:cubicBezTo>
                <a:cubicBezTo>
                  <a:pt x="3655" y="6504"/>
                  <a:pt x="3655" y="6504"/>
                  <a:pt x="3655" y="6504"/>
                </a:cubicBezTo>
                <a:cubicBezTo>
                  <a:pt x="3655" y="6504"/>
                  <a:pt x="3648" y="6512"/>
                  <a:pt x="3641" y="6521"/>
                </a:cubicBezTo>
                <a:cubicBezTo>
                  <a:pt x="3634" y="6531"/>
                  <a:pt x="3672" y="6540"/>
                  <a:pt x="3672" y="6540"/>
                </a:cubicBezTo>
                <a:cubicBezTo>
                  <a:pt x="3672" y="6540"/>
                  <a:pt x="3665" y="6546"/>
                  <a:pt x="3660" y="6550"/>
                </a:cubicBezTo>
                <a:cubicBezTo>
                  <a:pt x="3655" y="6553"/>
                  <a:pt x="3662" y="6564"/>
                  <a:pt x="3672" y="6569"/>
                </a:cubicBezTo>
                <a:cubicBezTo>
                  <a:pt x="3681" y="6573"/>
                  <a:pt x="3694" y="6570"/>
                  <a:pt x="3694" y="6570"/>
                </a:cubicBezTo>
                <a:cubicBezTo>
                  <a:pt x="3699" y="6594"/>
                  <a:pt x="3699" y="6594"/>
                  <a:pt x="3699" y="6594"/>
                </a:cubicBezTo>
                <a:cubicBezTo>
                  <a:pt x="3699" y="6594"/>
                  <a:pt x="3679" y="6607"/>
                  <a:pt x="3674" y="6614"/>
                </a:cubicBezTo>
                <a:cubicBezTo>
                  <a:pt x="3669" y="6621"/>
                  <a:pt x="3688" y="6622"/>
                  <a:pt x="3688" y="6622"/>
                </a:cubicBezTo>
                <a:cubicBezTo>
                  <a:pt x="3688" y="6622"/>
                  <a:pt x="3712" y="6627"/>
                  <a:pt x="3712" y="6634"/>
                </a:cubicBezTo>
                <a:cubicBezTo>
                  <a:pt x="3712" y="6641"/>
                  <a:pt x="3697" y="6635"/>
                  <a:pt x="3687" y="6630"/>
                </a:cubicBezTo>
                <a:cubicBezTo>
                  <a:pt x="3678" y="6625"/>
                  <a:pt x="3676" y="6640"/>
                  <a:pt x="3676" y="6640"/>
                </a:cubicBezTo>
                <a:cubicBezTo>
                  <a:pt x="3695" y="6644"/>
                  <a:pt x="3695" y="6644"/>
                  <a:pt x="3695" y="6644"/>
                </a:cubicBezTo>
                <a:cubicBezTo>
                  <a:pt x="3681" y="6651"/>
                  <a:pt x="3681" y="6651"/>
                  <a:pt x="3681" y="6651"/>
                </a:cubicBezTo>
                <a:cubicBezTo>
                  <a:pt x="3682" y="6668"/>
                  <a:pt x="3682" y="6668"/>
                  <a:pt x="3682" y="6668"/>
                </a:cubicBezTo>
                <a:cubicBezTo>
                  <a:pt x="3682" y="6668"/>
                  <a:pt x="3698" y="6660"/>
                  <a:pt x="3691" y="6681"/>
                </a:cubicBezTo>
                <a:cubicBezTo>
                  <a:pt x="3684" y="6702"/>
                  <a:pt x="3674" y="6672"/>
                  <a:pt x="3674" y="6672"/>
                </a:cubicBezTo>
                <a:cubicBezTo>
                  <a:pt x="3650" y="6673"/>
                  <a:pt x="3650" y="6673"/>
                  <a:pt x="3650" y="6673"/>
                </a:cubicBezTo>
                <a:cubicBezTo>
                  <a:pt x="3666" y="6666"/>
                  <a:pt x="3666" y="6666"/>
                  <a:pt x="3666" y="6666"/>
                </a:cubicBezTo>
                <a:cubicBezTo>
                  <a:pt x="3666" y="6666"/>
                  <a:pt x="3649" y="6648"/>
                  <a:pt x="3646" y="6649"/>
                </a:cubicBezTo>
                <a:cubicBezTo>
                  <a:pt x="3642" y="6650"/>
                  <a:pt x="3645" y="6659"/>
                  <a:pt x="3645" y="6659"/>
                </a:cubicBezTo>
                <a:cubicBezTo>
                  <a:pt x="3639" y="6653"/>
                  <a:pt x="3639" y="6653"/>
                  <a:pt x="3639" y="6653"/>
                </a:cubicBezTo>
                <a:cubicBezTo>
                  <a:pt x="3614" y="6660"/>
                  <a:pt x="3614" y="6660"/>
                  <a:pt x="3614" y="6660"/>
                </a:cubicBezTo>
                <a:cubicBezTo>
                  <a:pt x="3636" y="6665"/>
                  <a:pt x="3636" y="6665"/>
                  <a:pt x="3636" y="6665"/>
                </a:cubicBezTo>
                <a:cubicBezTo>
                  <a:pt x="3636" y="6665"/>
                  <a:pt x="3632" y="6668"/>
                  <a:pt x="3628" y="6674"/>
                </a:cubicBezTo>
                <a:cubicBezTo>
                  <a:pt x="3624" y="6680"/>
                  <a:pt x="3608" y="6686"/>
                  <a:pt x="3607" y="6695"/>
                </a:cubicBezTo>
                <a:cubicBezTo>
                  <a:pt x="3606" y="6705"/>
                  <a:pt x="3626" y="6709"/>
                  <a:pt x="3629" y="6707"/>
                </a:cubicBezTo>
                <a:cubicBezTo>
                  <a:pt x="3633" y="6705"/>
                  <a:pt x="3621" y="6696"/>
                  <a:pt x="3621" y="6696"/>
                </a:cubicBezTo>
                <a:cubicBezTo>
                  <a:pt x="3636" y="6693"/>
                  <a:pt x="3636" y="6693"/>
                  <a:pt x="3636" y="6693"/>
                </a:cubicBezTo>
                <a:cubicBezTo>
                  <a:pt x="3636" y="6693"/>
                  <a:pt x="3643" y="6698"/>
                  <a:pt x="3647" y="6702"/>
                </a:cubicBezTo>
                <a:cubicBezTo>
                  <a:pt x="3650" y="6707"/>
                  <a:pt x="3674" y="6704"/>
                  <a:pt x="3674" y="6704"/>
                </a:cubicBezTo>
                <a:cubicBezTo>
                  <a:pt x="3674" y="6704"/>
                  <a:pt x="3689" y="6711"/>
                  <a:pt x="3695" y="6719"/>
                </a:cubicBezTo>
                <a:cubicBezTo>
                  <a:pt x="3701" y="6727"/>
                  <a:pt x="3682" y="6735"/>
                  <a:pt x="3682" y="6735"/>
                </a:cubicBezTo>
                <a:cubicBezTo>
                  <a:pt x="3688" y="6745"/>
                  <a:pt x="3688" y="6745"/>
                  <a:pt x="3688" y="6745"/>
                </a:cubicBezTo>
                <a:cubicBezTo>
                  <a:pt x="3700" y="6741"/>
                  <a:pt x="3700" y="6741"/>
                  <a:pt x="3700" y="6741"/>
                </a:cubicBezTo>
                <a:cubicBezTo>
                  <a:pt x="3700" y="6752"/>
                  <a:pt x="3700" y="6752"/>
                  <a:pt x="3700" y="6752"/>
                </a:cubicBezTo>
                <a:cubicBezTo>
                  <a:pt x="3712" y="6757"/>
                  <a:pt x="3712" y="6757"/>
                  <a:pt x="3712" y="6757"/>
                </a:cubicBezTo>
                <a:cubicBezTo>
                  <a:pt x="3717" y="6741"/>
                  <a:pt x="3717" y="6741"/>
                  <a:pt x="3717" y="6741"/>
                </a:cubicBezTo>
                <a:cubicBezTo>
                  <a:pt x="3726" y="6757"/>
                  <a:pt x="3726" y="6757"/>
                  <a:pt x="3726" y="6757"/>
                </a:cubicBezTo>
                <a:cubicBezTo>
                  <a:pt x="3726" y="6757"/>
                  <a:pt x="3745" y="6757"/>
                  <a:pt x="3743" y="6771"/>
                </a:cubicBezTo>
                <a:cubicBezTo>
                  <a:pt x="3740" y="6785"/>
                  <a:pt x="3718" y="6769"/>
                  <a:pt x="3710" y="6767"/>
                </a:cubicBezTo>
                <a:cubicBezTo>
                  <a:pt x="3701" y="6766"/>
                  <a:pt x="3708" y="6780"/>
                  <a:pt x="3708" y="6780"/>
                </a:cubicBezTo>
                <a:cubicBezTo>
                  <a:pt x="3708" y="6780"/>
                  <a:pt x="3729" y="6787"/>
                  <a:pt x="3730" y="6802"/>
                </a:cubicBezTo>
                <a:cubicBezTo>
                  <a:pt x="3731" y="6816"/>
                  <a:pt x="3716" y="6811"/>
                  <a:pt x="3716" y="6811"/>
                </a:cubicBezTo>
                <a:cubicBezTo>
                  <a:pt x="3725" y="6823"/>
                  <a:pt x="3725" y="6823"/>
                  <a:pt x="3725" y="6823"/>
                </a:cubicBezTo>
                <a:cubicBezTo>
                  <a:pt x="3734" y="6847"/>
                  <a:pt x="3734" y="6847"/>
                  <a:pt x="3734" y="6847"/>
                </a:cubicBezTo>
                <a:cubicBezTo>
                  <a:pt x="3743" y="6818"/>
                  <a:pt x="3743" y="6818"/>
                  <a:pt x="3743" y="6818"/>
                </a:cubicBezTo>
                <a:cubicBezTo>
                  <a:pt x="3743" y="6838"/>
                  <a:pt x="3743" y="6838"/>
                  <a:pt x="3743" y="6838"/>
                </a:cubicBezTo>
                <a:cubicBezTo>
                  <a:pt x="3756" y="6854"/>
                  <a:pt x="3756" y="6854"/>
                  <a:pt x="3756" y="6854"/>
                </a:cubicBezTo>
                <a:cubicBezTo>
                  <a:pt x="3740" y="6854"/>
                  <a:pt x="3740" y="6854"/>
                  <a:pt x="3740" y="6854"/>
                </a:cubicBezTo>
                <a:cubicBezTo>
                  <a:pt x="3743" y="6867"/>
                  <a:pt x="3743" y="6867"/>
                  <a:pt x="3743" y="6867"/>
                </a:cubicBezTo>
                <a:cubicBezTo>
                  <a:pt x="3758" y="6868"/>
                  <a:pt x="3758" y="6868"/>
                  <a:pt x="3758" y="6868"/>
                </a:cubicBezTo>
                <a:cubicBezTo>
                  <a:pt x="3749" y="6876"/>
                  <a:pt x="3749" y="6876"/>
                  <a:pt x="3749" y="6876"/>
                </a:cubicBezTo>
                <a:cubicBezTo>
                  <a:pt x="3769" y="6882"/>
                  <a:pt x="3769" y="6882"/>
                  <a:pt x="3769" y="6882"/>
                </a:cubicBezTo>
                <a:cubicBezTo>
                  <a:pt x="3756" y="6890"/>
                  <a:pt x="3756" y="6890"/>
                  <a:pt x="3756" y="6890"/>
                </a:cubicBezTo>
                <a:cubicBezTo>
                  <a:pt x="3775" y="6897"/>
                  <a:pt x="3775" y="6897"/>
                  <a:pt x="3775" y="6897"/>
                </a:cubicBezTo>
                <a:cubicBezTo>
                  <a:pt x="3770" y="6907"/>
                  <a:pt x="3770" y="6907"/>
                  <a:pt x="3770" y="6907"/>
                </a:cubicBezTo>
                <a:cubicBezTo>
                  <a:pt x="3782" y="6910"/>
                  <a:pt x="3782" y="6910"/>
                  <a:pt x="3782" y="6910"/>
                </a:cubicBezTo>
                <a:cubicBezTo>
                  <a:pt x="3782" y="6910"/>
                  <a:pt x="3784" y="6887"/>
                  <a:pt x="3791" y="6899"/>
                </a:cubicBezTo>
                <a:cubicBezTo>
                  <a:pt x="3798" y="6910"/>
                  <a:pt x="3789" y="6916"/>
                  <a:pt x="3783" y="6920"/>
                </a:cubicBezTo>
                <a:cubicBezTo>
                  <a:pt x="3777" y="6923"/>
                  <a:pt x="3783" y="6931"/>
                  <a:pt x="3783" y="6931"/>
                </a:cubicBezTo>
                <a:cubicBezTo>
                  <a:pt x="3803" y="6932"/>
                  <a:pt x="3803" y="6932"/>
                  <a:pt x="3803" y="6932"/>
                </a:cubicBezTo>
                <a:cubicBezTo>
                  <a:pt x="3803" y="6932"/>
                  <a:pt x="3804" y="6942"/>
                  <a:pt x="3810" y="6947"/>
                </a:cubicBezTo>
                <a:cubicBezTo>
                  <a:pt x="3816" y="6952"/>
                  <a:pt x="3833" y="6961"/>
                  <a:pt x="3833" y="6961"/>
                </a:cubicBezTo>
                <a:cubicBezTo>
                  <a:pt x="3830" y="6939"/>
                  <a:pt x="3830" y="6939"/>
                  <a:pt x="3830" y="6939"/>
                </a:cubicBezTo>
                <a:cubicBezTo>
                  <a:pt x="3830" y="6939"/>
                  <a:pt x="3851" y="6947"/>
                  <a:pt x="3867" y="6958"/>
                </a:cubicBezTo>
                <a:cubicBezTo>
                  <a:pt x="3882" y="6968"/>
                  <a:pt x="3869" y="6978"/>
                  <a:pt x="3869" y="6978"/>
                </a:cubicBezTo>
                <a:cubicBezTo>
                  <a:pt x="3880" y="6985"/>
                  <a:pt x="3880" y="6985"/>
                  <a:pt x="3880" y="6985"/>
                </a:cubicBezTo>
                <a:cubicBezTo>
                  <a:pt x="3879" y="6998"/>
                  <a:pt x="3879" y="6998"/>
                  <a:pt x="3879" y="6998"/>
                </a:cubicBezTo>
                <a:cubicBezTo>
                  <a:pt x="3918" y="6998"/>
                  <a:pt x="3918" y="6998"/>
                  <a:pt x="3918" y="6998"/>
                </a:cubicBezTo>
                <a:cubicBezTo>
                  <a:pt x="3922" y="7005"/>
                  <a:pt x="3922" y="7005"/>
                  <a:pt x="3922" y="7005"/>
                </a:cubicBezTo>
                <a:cubicBezTo>
                  <a:pt x="3902" y="7005"/>
                  <a:pt x="3902" y="7005"/>
                  <a:pt x="3902" y="7005"/>
                </a:cubicBezTo>
                <a:cubicBezTo>
                  <a:pt x="3894" y="7013"/>
                  <a:pt x="3894" y="7013"/>
                  <a:pt x="3894" y="7013"/>
                </a:cubicBezTo>
                <a:cubicBezTo>
                  <a:pt x="3881" y="7014"/>
                  <a:pt x="3881" y="7014"/>
                  <a:pt x="3881" y="7014"/>
                </a:cubicBezTo>
                <a:cubicBezTo>
                  <a:pt x="3870" y="7026"/>
                  <a:pt x="3870" y="7026"/>
                  <a:pt x="3870" y="7026"/>
                </a:cubicBezTo>
                <a:cubicBezTo>
                  <a:pt x="3890" y="7029"/>
                  <a:pt x="3890" y="7029"/>
                  <a:pt x="3890" y="7029"/>
                </a:cubicBezTo>
                <a:cubicBezTo>
                  <a:pt x="3886" y="7039"/>
                  <a:pt x="3886" y="7039"/>
                  <a:pt x="3886" y="7039"/>
                </a:cubicBezTo>
                <a:cubicBezTo>
                  <a:pt x="3902" y="7037"/>
                  <a:pt x="3902" y="7037"/>
                  <a:pt x="3902" y="7037"/>
                </a:cubicBezTo>
                <a:cubicBezTo>
                  <a:pt x="3904" y="7024"/>
                  <a:pt x="3904" y="7024"/>
                  <a:pt x="3904" y="7024"/>
                </a:cubicBezTo>
                <a:cubicBezTo>
                  <a:pt x="3919" y="7030"/>
                  <a:pt x="3919" y="7030"/>
                  <a:pt x="3919" y="7030"/>
                </a:cubicBezTo>
                <a:cubicBezTo>
                  <a:pt x="3919" y="7030"/>
                  <a:pt x="3937" y="7005"/>
                  <a:pt x="3946" y="7012"/>
                </a:cubicBezTo>
                <a:cubicBezTo>
                  <a:pt x="3956" y="7019"/>
                  <a:pt x="3927" y="7044"/>
                  <a:pt x="3927" y="7044"/>
                </a:cubicBezTo>
                <a:cubicBezTo>
                  <a:pt x="3927" y="7044"/>
                  <a:pt x="3924" y="7037"/>
                  <a:pt x="3915" y="7038"/>
                </a:cubicBezTo>
                <a:cubicBezTo>
                  <a:pt x="3907" y="7039"/>
                  <a:pt x="3912" y="7050"/>
                  <a:pt x="3912" y="7050"/>
                </a:cubicBezTo>
                <a:cubicBezTo>
                  <a:pt x="3900" y="7050"/>
                  <a:pt x="3900" y="7050"/>
                  <a:pt x="3900" y="7050"/>
                </a:cubicBezTo>
                <a:cubicBezTo>
                  <a:pt x="3891" y="7047"/>
                  <a:pt x="3879" y="7058"/>
                  <a:pt x="3879" y="7058"/>
                </a:cubicBezTo>
                <a:cubicBezTo>
                  <a:pt x="3888" y="7064"/>
                  <a:pt x="3888" y="7064"/>
                  <a:pt x="3888" y="7064"/>
                </a:cubicBezTo>
                <a:cubicBezTo>
                  <a:pt x="3890" y="7082"/>
                  <a:pt x="3890" y="7082"/>
                  <a:pt x="3890" y="7082"/>
                </a:cubicBezTo>
                <a:cubicBezTo>
                  <a:pt x="3910" y="7072"/>
                  <a:pt x="3910" y="7072"/>
                  <a:pt x="3910" y="7072"/>
                </a:cubicBezTo>
                <a:cubicBezTo>
                  <a:pt x="3910" y="7072"/>
                  <a:pt x="3915" y="7083"/>
                  <a:pt x="3921" y="7082"/>
                </a:cubicBezTo>
                <a:cubicBezTo>
                  <a:pt x="3926" y="7081"/>
                  <a:pt x="3927" y="7061"/>
                  <a:pt x="3936" y="7056"/>
                </a:cubicBezTo>
                <a:cubicBezTo>
                  <a:pt x="3945" y="7052"/>
                  <a:pt x="3944" y="7062"/>
                  <a:pt x="3944" y="7062"/>
                </a:cubicBezTo>
                <a:cubicBezTo>
                  <a:pt x="3944" y="7062"/>
                  <a:pt x="3959" y="7065"/>
                  <a:pt x="3974" y="7062"/>
                </a:cubicBezTo>
                <a:cubicBezTo>
                  <a:pt x="3988" y="7058"/>
                  <a:pt x="3958" y="7036"/>
                  <a:pt x="3958" y="7036"/>
                </a:cubicBezTo>
                <a:cubicBezTo>
                  <a:pt x="3958" y="7011"/>
                  <a:pt x="3958" y="7011"/>
                  <a:pt x="3958" y="7011"/>
                </a:cubicBezTo>
                <a:cubicBezTo>
                  <a:pt x="3983" y="7009"/>
                  <a:pt x="3983" y="7009"/>
                  <a:pt x="3983" y="7009"/>
                </a:cubicBezTo>
                <a:cubicBezTo>
                  <a:pt x="3981" y="6997"/>
                  <a:pt x="3981" y="6997"/>
                  <a:pt x="3981" y="6997"/>
                </a:cubicBezTo>
                <a:cubicBezTo>
                  <a:pt x="3997" y="6999"/>
                  <a:pt x="3997" y="6999"/>
                  <a:pt x="3997" y="6999"/>
                </a:cubicBezTo>
                <a:cubicBezTo>
                  <a:pt x="4002" y="6987"/>
                  <a:pt x="4002" y="6987"/>
                  <a:pt x="4002" y="6987"/>
                </a:cubicBezTo>
                <a:cubicBezTo>
                  <a:pt x="3999" y="6995"/>
                  <a:pt x="3999" y="6995"/>
                  <a:pt x="3999" y="6995"/>
                </a:cubicBezTo>
                <a:cubicBezTo>
                  <a:pt x="4004" y="6983"/>
                  <a:pt x="4004" y="6983"/>
                  <a:pt x="4004" y="6983"/>
                </a:cubicBezTo>
                <a:cubicBezTo>
                  <a:pt x="4011" y="6973"/>
                  <a:pt x="4040" y="6992"/>
                  <a:pt x="4040" y="6992"/>
                </a:cubicBezTo>
                <a:cubicBezTo>
                  <a:pt x="4013" y="6955"/>
                  <a:pt x="4013" y="6955"/>
                  <a:pt x="4013" y="6955"/>
                </a:cubicBezTo>
                <a:cubicBezTo>
                  <a:pt x="4000" y="6956"/>
                  <a:pt x="4000" y="6956"/>
                  <a:pt x="4000" y="6956"/>
                </a:cubicBezTo>
                <a:cubicBezTo>
                  <a:pt x="4003" y="6946"/>
                  <a:pt x="4003" y="6946"/>
                  <a:pt x="4003" y="6946"/>
                </a:cubicBezTo>
                <a:cubicBezTo>
                  <a:pt x="3979" y="6929"/>
                  <a:pt x="3979" y="6929"/>
                  <a:pt x="3979" y="6929"/>
                </a:cubicBezTo>
                <a:cubicBezTo>
                  <a:pt x="3980" y="6905"/>
                  <a:pt x="3980" y="6905"/>
                  <a:pt x="3980" y="6905"/>
                </a:cubicBezTo>
                <a:cubicBezTo>
                  <a:pt x="3971" y="6901"/>
                  <a:pt x="3971" y="6901"/>
                  <a:pt x="3971" y="6901"/>
                </a:cubicBezTo>
                <a:cubicBezTo>
                  <a:pt x="3976" y="6889"/>
                  <a:pt x="3976" y="6889"/>
                  <a:pt x="3976" y="6889"/>
                </a:cubicBezTo>
                <a:cubicBezTo>
                  <a:pt x="3976" y="6889"/>
                  <a:pt x="3985" y="6889"/>
                  <a:pt x="3988" y="6881"/>
                </a:cubicBezTo>
                <a:cubicBezTo>
                  <a:pt x="3992" y="6873"/>
                  <a:pt x="3962" y="6873"/>
                  <a:pt x="3962" y="6873"/>
                </a:cubicBezTo>
                <a:cubicBezTo>
                  <a:pt x="3974" y="6868"/>
                  <a:pt x="3974" y="6868"/>
                  <a:pt x="3974" y="6868"/>
                </a:cubicBezTo>
                <a:cubicBezTo>
                  <a:pt x="3970" y="6855"/>
                  <a:pt x="3970" y="6855"/>
                  <a:pt x="3970" y="6855"/>
                </a:cubicBezTo>
                <a:cubicBezTo>
                  <a:pt x="3986" y="6872"/>
                  <a:pt x="3986" y="6872"/>
                  <a:pt x="3986" y="6872"/>
                </a:cubicBezTo>
                <a:cubicBezTo>
                  <a:pt x="3986" y="6872"/>
                  <a:pt x="4000" y="6882"/>
                  <a:pt x="4010" y="6870"/>
                </a:cubicBezTo>
                <a:cubicBezTo>
                  <a:pt x="4020" y="6858"/>
                  <a:pt x="4002" y="6832"/>
                  <a:pt x="4003" y="6818"/>
                </a:cubicBezTo>
                <a:cubicBezTo>
                  <a:pt x="4004" y="6805"/>
                  <a:pt x="4047" y="6776"/>
                  <a:pt x="4050" y="6767"/>
                </a:cubicBezTo>
                <a:cubicBezTo>
                  <a:pt x="4054" y="6758"/>
                  <a:pt x="4029" y="6758"/>
                  <a:pt x="4029" y="6758"/>
                </a:cubicBezTo>
                <a:cubicBezTo>
                  <a:pt x="4045" y="6756"/>
                  <a:pt x="4045" y="6756"/>
                  <a:pt x="4045" y="6756"/>
                </a:cubicBezTo>
                <a:cubicBezTo>
                  <a:pt x="4045" y="6756"/>
                  <a:pt x="4046" y="6736"/>
                  <a:pt x="4038" y="6726"/>
                </a:cubicBezTo>
                <a:cubicBezTo>
                  <a:pt x="4030" y="6716"/>
                  <a:pt x="4018" y="6721"/>
                  <a:pt x="4018" y="6721"/>
                </a:cubicBezTo>
                <a:cubicBezTo>
                  <a:pt x="4006" y="6712"/>
                  <a:pt x="4006" y="6712"/>
                  <a:pt x="4006" y="6712"/>
                </a:cubicBezTo>
                <a:cubicBezTo>
                  <a:pt x="3993" y="6712"/>
                  <a:pt x="3993" y="6712"/>
                  <a:pt x="3993" y="6712"/>
                </a:cubicBezTo>
                <a:cubicBezTo>
                  <a:pt x="3993" y="6712"/>
                  <a:pt x="3953" y="6695"/>
                  <a:pt x="3941" y="6668"/>
                </a:cubicBezTo>
                <a:cubicBezTo>
                  <a:pt x="3928" y="6641"/>
                  <a:pt x="3948" y="6636"/>
                  <a:pt x="3948" y="6636"/>
                </a:cubicBezTo>
                <a:cubicBezTo>
                  <a:pt x="3954" y="6619"/>
                  <a:pt x="3954" y="6619"/>
                  <a:pt x="3954" y="6619"/>
                </a:cubicBezTo>
                <a:cubicBezTo>
                  <a:pt x="3963" y="6619"/>
                  <a:pt x="3963" y="6619"/>
                  <a:pt x="3963" y="6619"/>
                </a:cubicBezTo>
                <a:cubicBezTo>
                  <a:pt x="3969" y="6607"/>
                  <a:pt x="3969" y="6607"/>
                  <a:pt x="3969" y="6607"/>
                </a:cubicBezTo>
                <a:cubicBezTo>
                  <a:pt x="4005" y="6606"/>
                  <a:pt x="4005" y="6606"/>
                  <a:pt x="4005" y="6606"/>
                </a:cubicBezTo>
                <a:cubicBezTo>
                  <a:pt x="3997" y="6599"/>
                  <a:pt x="3997" y="6599"/>
                  <a:pt x="3997" y="6599"/>
                </a:cubicBezTo>
                <a:cubicBezTo>
                  <a:pt x="3996" y="6585"/>
                  <a:pt x="3996" y="6585"/>
                  <a:pt x="3996" y="6585"/>
                </a:cubicBezTo>
                <a:cubicBezTo>
                  <a:pt x="4005" y="6584"/>
                  <a:pt x="4005" y="6584"/>
                  <a:pt x="4005" y="6584"/>
                </a:cubicBezTo>
                <a:cubicBezTo>
                  <a:pt x="4005" y="6584"/>
                  <a:pt x="4010" y="6565"/>
                  <a:pt x="4002" y="6558"/>
                </a:cubicBezTo>
                <a:cubicBezTo>
                  <a:pt x="3994" y="6551"/>
                  <a:pt x="3985" y="6535"/>
                  <a:pt x="3992" y="6519"/>
                </a:cubicBezTo>
                <a:cubicBezTo>
                  <a:pt x="3998" y="6504"/>
                  <a:pt x="4018" y="6504"/>
                  <a:pt x="4018" y="6504"/>
                </a:cubicBezTo>
                <a:cubicBezTo>
                  <a:pt x="4018" y="6497"/>
                  <a:pt x="4018" y="6497"/>
                  <a:pt x="4018" y="6497"/>
                </a:cubicBezTo>
                <a:cubicBezTo>
                  <a:pt x="4018" y="6497"/>
                  <a:pt x="4001" y="6497"/>
                  <a:pt x="3993" y="6492"/>
                </a:cubicBezTo>
                <a:cubicBezTo>
                  <a:pt x="3985" y="6488"/>
                  <a:pt x="3994" y="6479"/>
                  <a:pt x="4002" y="6478"/>
                </a:cubicBezTo>
                <a:cubicBezTo>
                  <a:pt x="4010" y="6477"/>
                  <a:pt x="4024" y="6494"/>
                  <a:pt x="4031" y="6494"/>
                </a:cubicBezTo>
                <a:cubicBezTo>
                  <a:pt x="4038" y="6494"/>
                  <a:pt x="4047" y="6490"/>
                  <a:pt x="4048" y="6480"/>
                </a:cubicBezTo>
                <a:cubicBezTo>
                  <a:pt x="4049" y="6470"/>
                  <a:pt x="4036" y="6447"/>
                  <a:pt x="4023" y="6452"/>
                </a:cubicBezTo>
                <a:cubicBezTo>
                  <a:pt x="4011" y="6456"/>
                  <a:pt x="4030" y="6466"/>
                  <a:pt x="4018" y="6472"/>
                </a:cubicBezTo>
                <a:cubicBezTo>
                  <a:pt x="4005" y="6478"/>
                  <a:pt x="3993" y="6461"/>
                  <a:pt x="3993" y="6461"/>
                </a:cubicBezTo>
                <a:cubicBezTo>
                  <a:pt x="3993" y="6461"/>
                  <a:pt x="3969" y="6463"/>
                  <a:pt x="3966" y="6456"/>
                </a:cubicBezTo>
                <a:cubicBezTo>
                  <a:pt x="3962" y="6450"/>
                  <a:pt x="3966" y="6422"/>
                  <a:pt x="3966" y="6419"/>
                </a:cubicBezTo>
                <a:cubicBezTo>
                  <a:pt x="3966" y="6416"/>
                  <a:pt x="3949" y="6399"/>
                  <a:pt x="3953" y="6384"/>
                </a:cubicBezTo>
                <a:cubicBezTo>
                  <a:pt x="3958" y="6370"/>
                  <a:pt x="3971" y="6386"/>
                  <a:pt x="3986" y="6390"/>
                </a:cubicBezTo>
                <a:cubicBezTo>
                  <a:pt x="4001" y="6393"/>
                  <a:pt x="4018" y="6406"/>
                  <a:pt x="4027" y="6406"/>
                </a:cubicBezTo>
                <a:cubicBezTo>
                  <a:pt x="4036" y="6406"/>
                  <a:pt x="4069" y="6388"/>
                  <a:pt x="4077" y="6382"/>
                </a:cubicBezTo>
                <a:cubicBezTo>
                  <a:pt x="4085" y="6376"/>
                  <a:pt x="4052" y="6358"/>
                  <a:pt x="4052" y="6358"/>
                </a:cubicBezTo>
                <a:cubicBezTo>
                  <a:pt x="4051" y="6342"/>
                  <a:pt x="4051" y="6342"/>
                  <a:pt x="4051" y="6342"/>
                </a:cubicBezTo>
                <a:cubicBezTo>
                  <a:pt x="4051" y="6342"/>
                  <a:pt x="4060" y="6326"/>
                  <a:pt x="4063" y="6315"/>
                </a:cubicBezTo>
                <a:cubicBezTo>
                  <a:pt x="4065" y="6305"/>
                  <a:pt x="4042" y="6305"/>
                  <a:pt x="4042" y="6305"/>
                </a:cubicBezTo>
                <a:cubicBezTo>
                  <a:pt x="4040" y="6291"/>
                  <a:pt x="4040" y="6291"/>
                  <a:pt x="4040" y="6291"/>
                </a:cubicBezTo>
                <a:cubicBezTo>
                  <a:pt x="4040" y="6291"/>
                  <a:pt x="4032" y="6282"/>
                  <a:pt x="4039" y="6274"/>
                </a:cubicBezTo>
                <a:cubicBezTo>
                  <a:pt x="4046" y="6266"/>
                  <a:pt x="4056" y="6301"/>
                  <a:pt x="4056" y="6301"/>
                </a:cubicBezTo>
                <a:cubicBezTo>
                  <a:pt x="4064" y="6300"/>
                  <a:pt x="4064" y="6300"/>
                  <a:pt x="4064" y="6300"/>
                </a:cubicBezTo>
                <a:cubicBezTo>
                  <a:pt x="4059" y="6286"/>
                  <a:pt x="4059" y="6286"/>
                  <a:pt x="4059" y="6286"/>
                </a:cubicBezTo>
                <a:cubicBezTo>
                  <a:pt x="4113" y="6293"/>
                  <a:pt x="4113" y="6293"/>
                  <a:pt x="4113" y="6293"/>
                </a:cubicBezTo>
                <a:cubicBezTo>
                  <a:pt x="4116" y="6287"/>
                  <a:pt x="4116" y="6287"/>
                  <a:pt x="4116" y="6287"/>
                </a:cubicBezTo>
                <a:cubicBezTo>
                  <a:pt x="4116" y="6287"/>
                  <a:pt x="4129" y="6279"/>
                  <a:pt x="4157" y="6276"/>
                </a:cubicBezTo>
                <a:cubicBezTo>
                  <a:pt x="4186" y="6273"/>
                  <a:pt x="4238" y="6248"/>
                  <a:pt x="4238" y="6248"/>
                </a:cubicBezTo>
                <a:cubicBezTo>
                  <a:pt x="4235" y="6222"/>
                  <a:pt x="4235" y="6222"/>
                  <a:pt x="4235" y="6222"/>
                </a:cubicBezTo>
                <a:cubicBezTo>
                  <a:pt x="4250" y="6214"/>
                  <a:pt x="4250" y="6214"/>
                  <a:pt x="4250" y="6214"/>
                </a:cubicBezTo>
                <a:cubicBezTo>
                  <a:pt x="4258" y="6181"/>
                  <a:pt x="4258" y="6181"/>
                  <a:pt x="4258" y="6181"/>
                </a:cubicBezTo>
                <a:cubicBezTo>
                  <a:pt x="4251" y="6164"/>
                  <a:pt x="4251" y="6164"/>
                  <a:pt x="4251" y="6164"/>
                </a:cubicBezTo>
                <a:cubicBezTo>
                  <a:pt x="4251" y="6146"/>
                  <a:pt x="4251" y="6146"/>
                  <a:pt x="4251" y="6146"/>
                </a:cubicBezTo>
                <a:cubicBezTo>
                  <a:pt x="4251" y="6146"/>
                  <a:pt x="4240" y="6137"/>
                  <a:pt x="4229" y="6133"/>
                </a:cubicBezTo>
                <a:cubicBezTo>
                  <a:pt x="4223" y="6131"/>
                  <a:pt x="4216" y="6136"/>
                  <a:pt x="4211" y="6132"/>
                </a:cubicBezTo>
                <a:cubicBezTo>
                  <a:pt x="4203" y="6126"/>
                  <a:pt x="4217" y="6120"/>
                  <a:pt x="4220" y="6115"/>
                </a:cubicBezTo>
                <a:cubicBezTo>
                  <a:pt x="4224" y="6108"/>
                  <a:pt x="4219" y="6102"/>
                  <a:pt x="4219" y="6094"/>
                </a:cubicBezTo>
                <a:cubicBezTo>
                  <a:pt x="4219" y="6079"/>
                  <a:pt x="4186" y="6074"/>
                  <a:pt x="4163" y="6063"/>
                </a:cubicBezTo>
                <a:cubicBezTo>
                  <a:pt x="4140" y="6052"/>
                  <a:pt x="4140" y="6041"/>
                  <a:pt x="4150" y="6027"/>
                </a:cubicBezTo>
                <a:cubicBezTo>
                  <a:pt x="4151" y="6026"/>
                  <a:pt x="4151" y="6025"/>
                  <a:pt x="4152" y="6025"/>
                </a:cubicBezTo>
                <a:cubicBezTo>
                  <a:pt x="4132" y="6000"/>
                  <a:pt x="4132" y="6000"/>
                  <a:pt x="4132" y="6000"/>
                </a:cubicBezTo>
                <a:cubicBezTo>
                  <a:pt x="4152" y="6025"/>
                  <a:pt x="4152" y="6025"/>
                  <a:pt x="4152" y="6025"/>
                </a:cubicBezTo>
                <a:cubicBezTo>
                  <a:pt x="4160" y="6019"/>
                  <a:pt x="4174" y="6037"/>
                  <a:pt x="4179" y="6044"/>
                </a:cubicBezTo>
                <a:cubicBezTo>
                  <a:pt x="4179" y="6044"/>
                  <a:pt x="4179" y="6044"/>
                  <a:pt x="4179" y="6044"/>
                </a:cubicBezTo>
                <a:cubicBezTo>
                  <a:pt x="4180" y="6046"/>
                  <a:pt x="4181" y="6048"/>
                  <a:pt x="4181" y="6048"/>
                </a:cubicBezTo>
                <a:cubicBezTo>
                  <a:pt x="4213" y="6048"/>
                  <a:pt x="4213" y="6048"/>
                  <a:pt x="4213" y="6048"/>
                </a:cubicBezTo>
                <a:cubicBezTo>
                  <a:pt x="4220" y="6059"/>
                  <a:pt x="4220" y="6059"/>
                  <a:pt x="4220" y="6059"/>
                </a:cubicBezTo>
                <a:cubicBezTo>
                  <a:pt x="4220" y="6059"/>
                  <a:pt x="4247" y="6058"/>
                  <a:pt x="4280" y="6063"/>
                </a:cubicBezTo>
                <a:cubicBezTo>
                  <a:pt x="4313" y="6068"/>
                  <a:pt x="4332" y="6067"/>
                  <a:pt x="4348" y="6054"/>
                </a:cubicBezTo>
                <a:cubicBezTo>
                  <a:pt x="4362" y="6043"/>
                  <a:pt x="4369" y="6013"/>
                  <a:pt x="4371" y="6006"/>
                </a:cubicBezTo>
                <a:cubicBezTo>
                  <a:pt x="4371" y="6004"/>
                  <a:pt x="4371" y="6004"/>
                  <a:pt x="4371" y="6004"/>
                </a:cubicBezTo>
                <a:cubicBezTo>
                  <a:pt x="4371" y="6004"/>
                  <a:pt x="4394" y="5978"/>
                  <a:pt x="4399" y="5969"/>
                </a:cubicBezTo>
                <a:cubicBezTo>
                  <a:pt x="4404" y="5960"/>
                  <a:pt x="4396" y="5939"/>
                  <a:pt x="4396" y="5939"/>
                </a:cubicBezTo>
                <a:cubicBezTo>
                  <a:pt x="4408" y="5921"/>
                  <a:pt x="4408" y="5921"/>
                  <a:pt x="4408" y="5921"/>
                </a:cubicBezTo>
                <a:cubicBezTo>
                  <a:pt x="4408" y="5921"/>
                  <a:pt x="4398" y="5913"/>
                  <a:pt x="4398" y="5903"/>
                </a:cubicBezTo>
                <a:cubicBezTo>
                  <a:pt x="4398" y="5893"/>
                  <a:pt x="4408" y="5892"/>
                  <a:pt x="4408" y="5892"/>
                </a:cubicBezTo>
                <a:cubicBezTo>
                  <a:pt x="4410" y="5876"/>
                  <a:pt x="4410" y="5876"/>
                  <a:pt x="4410" y="5876"/>
                </a:cubicBezTo>
                <a:cubicBezTo>
                  <a:pt x="4410" y="5876"/>
                  <a:pt x="4422" y="5874"/>
                  <a:pt x="4426" y="5870"/>
                </a:cubicBezTo>
                <a:cubicBezTo>
                  <a:pt x="4430" y="5866"/>
                  <a:pt x="4429" y="5852"/>
                  <a:pt x="4429" y="5844"/>
                </a:cubicBezTo>
                <a:cubicBezTo>
                  <a:pt x="4429" y="5836"/>
                  <a:pt x="4447" y="5819"/>
                  <a:pt x="4456" y="5817"/>
                </a:cubicBezTo>
                <a:cubicBezTo>
                  <a:pt x="4465" y="5815"/>
                  <a:pt x="4462" y="5839"/>
                  <a:pt x="4462" y="5839"/>
                </a:cubicBezTo>
                <a:cubicBezTo>
                  <a:pt x="4462" y="5839"/>
                  <a:pt x="4456" y="5849"/>
                  <a:pt x="4453" y="5851"/>
                </a:cubicBezTo>
                <a:cubicBezTo>
                  <a:pt x="4450" y="5853"/>
                  <a:pt x="4451" y="5864"/>
                  <a:pt x="4451" y="5864"/>
                </a:cubicBezTo>
                <a:cubicBezTo>
                  <a:pt x="4444" y="5868"/>
                  <a:pt x="4444" y="5868"/>
                  <a:pt x="4444" y="5868"/>
                </a:cubicBezTo>
                <a:cubicBezTo>
                  <a:pt x="4444" y="5877"/>
                  <a:pt x="4444" y="5877"/>
                  <a:pt x="4444" y="5877"/>
                </a:cubicBezTo>
                <a:cubicBezTo>
                  <a:pt x="4427" y="5895"/>
                  <a:pt x="4427" y="5895"/>
                  <a:pt x="4427" y="5895"/>
                </a:cubicBezTo>
                <a:cubicBezTo>
                  <a:pt x="4406" y="5910"/>
                  <a:pt x="4406" y="5910"/>
                  <a:pt x="4406" y="5910"/>
                </a:cubicBezTo>
                <a:cubicBezTo>
                  <a:pt x="4406" y="5910"/>
                  <a:pt x="4413" y="5916"/>
                  <a:pt x="4420" y="5914"/>
                </a:cubicBezTo>
                <a:cubicBezTo>
                  <a:pt x="4425" y="5913"/>
                  <a:pt x="4425" y="5901"/>
                  <a:pt x="4430" y="5898"/>
                </a:cubicBezTo>
                <a:cubicBezTo>
                  <a:pt x="4434" y="5894"/>
                  <a:pt x="4441" y="5897"/>
                  <a:pt x="4443" y="5895"/>
                </a:cubicBezTo>
                <a:cubicBezTo>
                  <a:pt x="4449" y="5886"/>
                  <a:pt x="4471" y="5852"/>
                  <a:pt x="4476" y="5828"/>
                </a:cubicBezTo>
                <a:cubicBezTo>
                  <a:pt x="4481" y="5804"/>
                  <a:pt x="4491" y="5782"/>
                  <a:pt x="4495" y="5768"/>
                </a:cubicBezTo>
                <a:cubicBezTo>
                  <a:pt x="4499" y="5754"/>
                  <a:pt x="4527" y="5737"/>
                  <a:pt x="4529" y="5733"/>
                </a:cubicBezTo>
                <a:cubicBezTo>
                  <a:pt x="4531" y="5729"/>
                  <a:pt x="4524" y="5719"/>
                  <a:pt x="4524" y="5719"/>
                </a:cubicBezTo>
                <a:cubicBezTo>
                  <a:pt x="4537" y="5710"/>
                  <a:pt x="4537" y="5710"/>
                  <a:pt x="4537" y="5710"/>
                </a:cubicBezTo>
                <a:cubicBezTo>
                  <a:pt x="4533" y="5686"/>
                  <a:pt x="4533" y="5686"/>
                  <a:pt x="4533" y="5686"/>
                </a:cubicBezTo>
                <a:cubicBezTo>
                  <a:pt x="4537" y="5672"/>
                  <a:pt x="4537" y="5672"/>
                  <a:pt x="4537" y="5672"/>
                </a:cubicBezTo>
                <a:cubicBezTo>
                  <a:pt x="4528" y="5667"/>
                  <a:pt x="4528" y="5667"/>
                  <a:pt x="4528" y="5667"/>
                </a:cubicBezTo>
                <a:cubicBezTo>
                  <a:pt x="4528" y="5667"/>
                  <a:pt x="4535" y="5658"/>
                  <a:pt x="4535" y="5650"/>
                </a:cubicBezTo>
                <a:cubicBezTo>
                  <a:pt x="4535" y="5642"/>
                  <a:pt x="4520" y="5636"/>
                  <a:pt x="4520" y="5636"/>
                </a:cubicBezTo>
                <a:cubicBezTo>
                  <a:pt x="4519" y="5613"/>
                  <a:pt x="4519" y="5613"/>
                  <a:pt x="4519" y="5613"/>
                </a:cubicBezTo>
                <a:cubicBezTo>
                  <a:pt x="4509" y="5602"/>
                  <a:pt x="4509" y="5602"/>
                  <a:pt x="4509" y="5602"/>
                </a:cubicBezTo>
                <a:cubicBezTo>
                  <a:pt x="4523" y="5603"/>
                  <a:pt x="4523" y="5603"/>
                  <a:pt x="4523" y="5603"/>
                </a:cubicBezTo>
                <a:cubicBezTo>
                  <a:pt x="4522" y="5586"/>
                  <a:pt x="4522" y="5586"/>
                  <a:pt x="4522" y="5586"/>
                </a:cubicBezTo>
                <a:cubicBezTo>
                  <a:pt x="4513" y="5581"/>
                  <a:pt x="4513" y="5581"/>
                  <a:pt x="4513" y="5581"/>
                </a:cubicBezTo>
                <a:cubicBezTo>
                  <a:pt x="4513" y="5581"/>
                  <a:pt x="4525" y="5578"/>
                  <a:pt x="4525" y="5573"/>
                </a:cubicBezTo>
                <a:cubicBezTo>
                  <a:pt x="4525" y="5568"/>
                  <a:pt x="4509" y="5558"/>
                  <a:pt x="4509" y="5558"/>
                </a:cubicBezTo>
                <a:cubicBezTo>
                  <a:pt x="4525" y="5547"/>
                  <a:pt x="4525" y="5547"/>
                  <a:pt x="4525" y="5547"/>
                </a:cubicBezTo>
                <a:cubicBezTo>
                  <a:pt x="4525" y="5547"/>
                  <a:pt x="4538" y="5561"/>
                  <a:pt x="4544" y="5560"/>
                </a:cubicBezTo>
                <a:cubicBezTo>
                  <a:pt x="4550" y="5559"/>
                  <a:pt x="4546" y="5547"/>
                  <a:pt x="4546" y="5547"/>
                </a:cubicBezTo>
                <a:cubicBezTo>
                  <a:pt x="4546" y="5547"/>
                  <a:pt x="4546" y="5535"/>
                  <a:pt x="4554" y="5525"/>
                </a:cubicBezTo>
                <a:cubicBezTo>
                  <a:pt x="4562" y="5515"/>
                  <a:pt x="4574" y="5518"/>
                  <a:pt x="4580" y="5513"/>
                </a:cubicBezTo>
                <a:cubicBezTo>
                  <a:pt x="4586" y="5508"/>
                  <a:pt x="4583" y="5504"/>
                  <a:pt x="4586" y="5497"/>
                </a:cubicBezTo>
                <a:cubicBezTo>
                  <a:pt x="4589" y="5490"/>
                  <a:pt x="4607" y="5487"/>
                  <a:pt x="4607" y="5487"/>
                </a:cubicBezTo>
                <a:cubicBezTo>
                  <a:pt x="4609" y="5479"/>
                  <a:pt x="4609" y="5479"/>
                  <a:pt x="4609" y="5479"/>
                </a:cubicBezTo>
                <a:cubicBezTo>
                  <a:pt x="4609" y="5479"/>
                  <a:pt x="4615" y="5482"/>
                  <a:pt x="4620" y="5481"/>
                </a:cubicBezTo>
                <a:cubicBezTo>
                  <a:pt x="4625" y="5480"/>
                  <a:pt x="4624" y="5468"/>
                  <a:pt x="4630" y="5467"/>
                </a:cubicBezTo>
                <a:cubicBezTo>
                  <a:pt x="4636" y="5466"/>
                  <a:pt x="4655" y="5469"/>
                  <a:pt x="4655" y="5469"/>
                </a:cubicBezTo>
                <a:cubicBezTo>
                  <a:pt x="4659" y="5479"/>
                  <a:pt x="4659" y="5479"/>
                  <a:pt x="4659" y="5479"/>
                </a:cubicBezTo>
                <a:cubicBezTo>
                  <a:pt x="4670" y="5477"/>
                  <a:pt x="4670" y="5477"/>
                  <a:pt x="4670" y="5477"/>
                </a:cubicBezTo>
                <a:cubicBezTo>
                  <a:pt x="4657" y="5462"/>
                  <a:pt x="4657" y="5462"/>
                  <a:pt x="4657" y="5462"/>
                </a:cubicBezTo>
                <a:cubicBezTo>
                  <a:pt x="4657" y="5462"/>
                  <a:pt x="4666" y="5458"/>
                  <a:pt x="4670" y="5453"/>
                </a:cubicBezTo>
                <a:cubicBezTo>
                  <a:pt x="4674" y="5448"/>
                  <a:pt x="4696" y="5447"/>
                  <a:pt x="4696" y="5447"/>
                </a:cubicBezTo>
                <a:cubicBezTo>
                  <a:pt x="4685" y="5437"/>
                  <a:pt x="4685" y="5437"/>
                  <a:pt x="4685" y="5437"/>
                </a:cubicBezTo>
                <a:cubicBezTo>
                  <a:pt x="4685" y="5437"/>
                  <a:pt x="4697" y="5427"/>
                  <a:pt x="4702" y="5427"/>
                </a:cubicBezTo>
                <a:cubicBezTo>
                  <a:pt x="4707" y="5427"/>
                  <a:pt x="4703" y="5443"/>
                  <a:pt x="4706" y="5443"/>
                </a:cubicBezTo>
                <a:cubicBezTo>
                  <a:pt x="4709" y="5443"/>
                  <a:pt x="4715" y="5426"/>
                  <a:pt x="4715" y="5426"/>
                </a:cubicBezTo>
                <a:cubicBezTo>
                  <a:pt x="4740" y="5431"/>
                  <a:pt x="4740" y="5431"/>
                  <a:pt x="4740" y="5431"/>
                </a:cubicBezTo>
                <a:cubicBezTo>
                  <a:pt x="4740" y="5431"/>
                  <a:pt x="4745" y="5411"/>
                  <a:pt x="4756" y="5410"/>
                </a:cubicBezTo>
                <a:cubicBezTo>
                  <a:pt x="4767" y="5409"/>
                  <a:pt x="4764" y="5431"/>
                  <a:pt x="4764" y="5431"/>
                </a:cubicBezTo>
                <a:cubicBezTo>
                  <a:pt x="4809" y="5426"/>
                  <a:pt x="4809" y="5426"/>
                  <a:pt x="4809" y="5426"/>
                </a:cubicBezTo>
                <a:cubicBezTo>
                  <a:pt x="4814" y="5414"/>
                  <a:pt x="4814" y="5414"/>
                  <a:pt x="4814" y="5414"/>
                </a:cubicBezTo>
                <a:cubicBezTo>
                  <a:pt x="4808" y="5407"/>
                  <a:pt x="4808" y="5407"/>
                  <a:pt x="4808" y="5407"/>
                </a:cubicBezTo>
                <a:cubicBezTo>
                  <a:pt x="4808" y="5407"/>
                  <a:pt x="4814" y="5399"/>
                  <a:pt x="4820" y="5390"/>
                </a:cubicBezTo>
                <a:cubicBezTo>
                  <a:pt x="4826" y="5381"/>
                  <a:pt x="4856" y="5376"/>
                  <a:pt x="4856" y="5376"/>
                </a:cubicBezTo>
                <a:cubicBezTo>
                  <a:pt x="4856" y="5376"/>
                  <a:pt x="4853" y="5363"/>
                  <a:pt x="4853" y="5360"/>
                </a:cubicBezTo>
                <a:cubicBezTo>
                  <a:pt x="4853" y="5357"/>
                  <a:pt x="4854" y="5316"/>
                  <a:pt x="4854" y="5316"/>
                </a:cubicBezTo>
                <a:cubicBezTo>
                  <a:pt x="4872" y="5296"/>
                  <a:pt x="4872" y="5296"/>
                  <a:pt x="4872" y="5296"/>
                </a:cubicBezTo>
                <a:cubicBezTo>
                  <a:pt x="4872" y="5280"/>
                  <a:pt x="4872" y="5280"/>
                  <a:pt x="4872" y="5280"/>
                </a:cubicBezTo>
                <a:cubicBezTo>
                  <a:pt x="4885" y="5277"/>
                  <a:pt x="4885" y="5277"/>
                  <a:pt x="4885" y="5277"/>
                </a:cubicBezTo>
                <a:cubicBezTo>
                  <a:pt x="4885" y="5255"/>
                  <a:pt x="4885" y="5255"/>
                  <a:pt x="4885" y="5255"/>
                </a:cubicBezTo>
                <a:cubicBezTo>
                  <a:pt x="4885" y="5255"/>
                  <a:pt x="4894" y="5250"/>
                  <a:pt x="4898" y="5250"/>
                </a:cubicBezTo>
                <a:cubicBezTo>
                  <a:pt x="4902" y="5250"/>
                  <a:pt x="4902" y="5225"/>
                  <a:pt x="4902" y="5225"/>
                </a:cubicBezTo>
                <a:cubicBezTo>
                  <a:pt x="4902" y="5225"/>
                  <a:pt x="4896" y="5196"/>
                  <a:pt x="4894" y="5181"/>
                </a:cubicBezTo>
                <a:cubicBezTo>
                  <a:pt x="4892" y="5166"/>
                  <a:pt x="4910" y="5154"/>
                  <a:pt x="4917" y="5148"/>
                </a:cubicBezTo>
                <a:cubicBezTo>
                  <a:pt x="4924" y="5142"/>
                  <a:pt x="4914" y="5121"/>
                  <a:pt x="4914" y="5121"/>
                </a:cubicBezTo>
                <a:cubicBezTo>
                  <a:pt x="4918" y="5083"/>
                  <a:pt x="4918" y="5083"/>
                  <a:pt x="4918" y="5083"/>
                </a:cubicBezTo>
                <a:cubicBezTo>
                  <a:pt x="4918" y="5083"/>
                  <a:pt x="4926" y="5053"/>
                  <a:pt x="4925" y="5042"/>
                </a:cubicBezTo>
                <a:cubicBezTo>
                  <a:pt x="4924" y="5031"/>
                  <a:pt x="4912" y="4973"/>
                  <a:pt x="4912" y="4973"/>
                </a:cubicBezTo>
                <a:cubicBezTo>
                  <a:pt x="4917" y="4949"/>
                  <a:pt x="4917" y="4949"/>
                  <a:pt x="4917" y="4949"/>
                </a:cubicBezTo>
                <a:cubicBezTo>
                  <a:pt x="4917" y="4949"/>
                  <a:pt x="4908" y="4918"/>
                  <a:pt x="4911" y="4910"/>
                </a:cubicBezTo>
                <a:cubicBezTo>
                  <a:pt x="4914" y="4902"/>
                  <a:pt x="4925" y="4892"/>
                  <a:pt x="4925" y="4892"/>
                </a:cubicBezTo>
                <a:cubicBezTo>
                  <a:pt x="4917" y="4880"/>
                  <a:pt x="4917" y="4880"/>
                  <a:pt x="4917" y="4880"/>
                </a:cubicBezTo>
                <a:cubicBezTo>
                  <a:pt x="4917" y="4880"/>
                  <a:pt x="4924" y="4870"/>
                  <a:pt x="4928" y="4870"/>
                </a:cubicBezTo>
                <a:cubicBezTo>
                  <a:pt x="4932" y="4870"/>
                  <a:pt x="4941" y="4889"/>
                  <a:pt x="4941" y="4889"/>
                </a:cubicBezTo>
                <a:cubicBezTo>
                  <a:pt x="4941" y="4889"/>
                  <a:pt x="4963" y="4869"/>
                  <a:pt x="4970" y="4859"/>
                </a:cubicBezTo>
                <a:cubicBezTo>
                  <a:pt x="4977" y="4849"/>
                  <a:pt x="4982" y="4805"/>
                  <a:pt x="4982" y="4805"/>
                </a:cubicBezTo>
                <a:cubicBezTo>
                  <a:pt x="4982" y="4805"/>
                  <a:pt x="4988" y="4801"/>
                  <a:pt x="4994" y="4797"/>
                </a:cubicBezTo>
                <a:cubicBezTo>
                  <a:pt x="5000" y="4793"/>
                  <a:pt x="5005" y="4771"/>
                  <a:pt x="5005" y="4771"/>
                </a:cubicBezTo>
                <a:cubicBezTo>
                  <a:pt x="5005" y="4771"/>
                  <a:pt x="5018" y="4764"/>
                  <a:pt x="5025" y="4763"/>
                </a:cubicBezTo>
                <a:cubicBezTo>
                  <a:pt x="5032" y="4762"/>
                  <a:pt x="5032" y="4742"/>
                  <a:pt x="5032" y="4742"/>
                </a:cubicBezTo>
                <a:cubicBezTo>
                  <a:pt x="5032" y="4742"/>
                  <a:pt x="5046" y="4737"/>
                  <a:pt x="5059" y="4719"/>
                </a:cubicBezTo>
                <a:cubicBezTo>
                  <a:pt x="5072" y="4701"/>
                  <a:pt x="5087" y="4654"/>
                  <a:pt x="5087" y="4654"/>
                </a:cubicBezTo>
                <a:cubicBezTo>
                  <a:pt x="5087" y="4654"/>
                  <a:pt x="5099" y="4641"/>
                  <a:pt x="5100" y="4635"/>
                </a:cubicBezTo>
                <a:cubicBezTo>
                  <a:pt x="5101" y="4629"/>
                  <a:pt x="5095" y="4613"/>
                  <a:pt x="5095" y="4613"/>
                </a:cubicBezTo>
                <a:cubicBezTo>
                  <a:pt x="5095" y="4613"/>
                  <a:pt x="5098" y="4592"/>
                  <a:pt x="5098" y="4575"/>
                </a:cubicBezTo>
                <a:close/>
                <a:moveTo>
                  <a:pt x="3153" y="1791"/>
                </a:moveTo>
                <a:cubicBezTo>
                  <a:pt x="3139" y="1791"/>
                  <a:pt x="3159" y="1774"/>
                  <a:pt x="3152" y="1771"/>
                </a:cubicBezTo>
                <a:cubicBezTo>
                  <a:pt x="3145" y="1768"/>
                  <a:pt x="3135" y="1781"/>
                  <a:pt x="3135" y="1781"/>
                </a:cubicBezTo>
                <a:cubicBezTo>
                  <a:pt x="3130" y="1783"/>
                  <a:pt x="3130" y="1783"/>
                  <a:pt x="3130" y="1783"/>
                </a:cubicBezTo>
                <a:cubicBezTo>
                  <a:pt x="3126" y="1794"/>
                  <a:pt x="3126" y="1794"/>
                  <a:pt x="3126" y="1794"/>
                </a:cubicBezTo>
                <a:cubicBezTo>
                  <a:pt x="3115" y="1790"/>
                  <a:pt x="3115" y="1790"/>
                  <a:pt x="3115" y="1790"/>
                </a:cubicBezTo>
                <a:cubicBezTo>
                  <a:pt x="3115" y="1790"/>
                  <a:pt x="3115" y="1801"/>
                  <a:pt x="3112" y="1808"/>
                </a:cubicBezTo>
                <a:cubicBezTo>
                  <a:pt x="3109" y="1815"/>
                  <a:pt x="3099" y="1818"/>
                  <a:pt x="3094" y="1823"/>
                </a:cubicBezTo>
                <a:cubicBezTo>
                  <a:pt x="3089" y="1828"/>
                  <a:pt x="3095" y="1836"/>
                  <a:pt x="3095" y="1836"/>
                </a:cubicBezTo>
                <a:cubicBezTo>
                  <a:pt x="3095" y="1836"/>
                  <a:pt x="3091" y="1836"/>
                  <a:pt x="3078" y="1850"/>
                </a:cubicBezTo>
                <a:cubicBezTo>
                  <a:pt x="3065" y="1864"/>
                  <a:pt x="3083" y="1864"/>
                  <a:pt x="3083" y="1872"/>
                </a:cubicBezTo>
                <a:cubicBezTo>
                  <a:pt x="3083" y="1880"/>
                  <a:pt x="3076" y="1881"/>
                  <a:pt x="3076" y="1881"/>
                </a:cubicBezTo>
                <a:cubicBezTo>
                  <a:pt x="3076" y="1881"/>
                  <a:pt x="3084" y="1885"/>
                  <a:pt x="3061" y="1917"/>
                </a:cubicBezTo>
                <a:cubicBezTo>
                  <a:pt x="3038" y="1949"/>
                  <a:pt x="2993" y="1959"/>
                  <a:pt x="2993" y="1959"/>
                </a:cubicBezTo>
                <a:cubicBezTo>
                  <a:pt x="2996" y="1939"/>
                  <a:pt x="2996" y="1939"/>
                  <a:pt x="2996" y="1939"/>
                </a:cubicBezTo>
                <a:cubicBezTo>
                  <a:pt x="2996" y="1939"/>
                  <a:pt x="2992" y="1932"/>
                  <a:pt x="2990" y="1928"/>
                </a:cubicBezTo>
                <a:cubicBezTo>
                  <a:pt x="2988" y="1924"/>
                  <a:pt x="3005" y="1904"/>
                  <a:pt x="3007" y="1897"/>
                </a:cubicBezTo>
                <a:cubicBezTo>
                  <a:pt x="3009" y="1890"/>
                  <a:pt x="3003" y="1889"/>
                  <a:pt x="3005" y="1877"/>
                </a:cubicBezTo>
                <a:cubicBezTo>
                  <a:pt x="3007" y="1865"/>
                  <a:pt x="3029" y="1846"/>
                  <a:pt x="3029" y="1846"/>
                </a:cubicBezTo>
                <a:cubicBezTo>
                  <a:pt x="3029" y="1837"/>
                  <a:pt x="3029" y="1837"/>
                  <a:pt x="3029" y="1837"/>
                </a:cubicBezTo>
                <a:cubicBezTo>
                  <a:pt x="3029" y="1837"/>
                  <a:pt x="3050" y="1822"/>
                  <a:pt x="3053" y="1816"/>
                </a:cubicBezTo>
                <a:cubicBezTo>
                  <a:pt x="3056" y="1810"/>
                  <a:pt x="3088" y="1779"/>
                  <a:pt x="3088" y="1779"/>
                </a:cubicBezTo>
                <a:cubicBezTo>
                  <a:pt x="3067" y="1785"/>
                  <a:pt x="3067" y="1785"/>
                  <a:pt x="3067" y="1785"/>
                </a:cubicBezTo>
                <a:cubicBezTo>
                  <a:pt x="3067" y="1785"/>
                  <a:pt x="3044" y="1804"/>
                  <a:pt x="3040" y="1799"/>
                </a:cubicBezTo>
                <a:cubicBezTo>
                  <a:pt x="3036" y="1794"/>
                  <a:pt x="3076" y="1770"/>
                  <a:pt x="3081" y="1762"/>
                </a:cubicBezTo>
                <a:cubicBezTo>
                  <a:pt x="3086" y="1754"/>
                  <a:pt x="3114" y="1733"/>
                  <a:pt x="3114" y="1733"/>
                </a:cubicBezTo>
                <a:cubicBezTo>
                  <a:pt x="3119" y="1739"/>
                  <a:pt x="3119" y="1739"/>
                  <a:pt x="3119" y="1739"/>
                </a:cubicBezTo>
                <a:cubicBezTo>
                  <a:pt x="3129" y="1733"/>
                  <a:pt x="3129" y="1733"/>
                  <a:pt x="3129" y="1733"/>
                </a:cubicBezTo>
                <a:cubicBezTo>
                  <a:pt x="3129" y="1733"/>
                  <a:pt x="3124" y="1742"/>
                  <a:pt x="3134" y="1741"/>
                </a:cubicBezTo>
                <a:cubicBezTo>
                  <a:pt x="3144" y="1740"/>
                  <a:pt x="3141" y="1726"/>
                  <a:pt x="3141" y="1726"/>
                </a:cubicBezTo>
                <a:cubicBezTo>
                  <a:pt x="3157" y="1731"/>
                  <a:pt x="3157" y="1731"/>
                  <a:pt x="3157" y="1731"/>
                </a:cubicBezTo>
                <a:cubicBezTo>
                  <a:pt x="3157" y="1731"/>
                  <a:pt x="3179" y="1720"/>
                  <a:pt x="3189" y="1723"/>
                </a:cubicBezTo>
                <a:cubicBezTo>
                  <a:pt x="3199" y="1726"/>
                  <a:pt x="3204" y="1738"/>
                  <a:pt x="3204" y="1738"/>
                </a:cubicBezTo>
                <a:cubicBezTo>
                  <a:pt x="3187" y="1744"/>
                  <a:pt x="3187" y="1744"/>
                  <a:pt x="3187" y="1744"/>
                </a:cubicBezTo>
                <a:cubicBezTo>
                  <a:pt x="3189" y="1761"/>
                  <a:pt x="3189" y="1761"/>
                  <a:pt x="3189" y="1761"/>
                </a:cubicBezTo>
                <a:cubicBezTo>
                  <a:pt x="3189" y="1761"/>
                  <a:pt x="3177" y="1759"/>
                  <a:pt x="3170" y="1759"/>
                </a:cubicBezTo>
                <a:cubicBezTo>
                  <a:pt x="3163" y="1759"/>
                  <a:pt x="3166" y="1776"/>
                  <a:pt x="3166" y="1776"/>
                </a:cubicBezTo>
                <a:cubicBezTo>
                  <a:pt x="3166" y="1776"/>
                  <a:pt x="3167" y="1791"/>
                  <a:pt x="3153" y="1791"/>
                </a:cubicBezTo>
                <a:close/>
                <a:moveTo>
                  <a:pt x="3303" y="1940"/>
                </a:moveTo>
                <a:cubicBezTo>
                  <a:pt x="3295" y="1943"/>
                  <a:pt x="3287" y="1946"/>
                  <a:pt x="3267" y="1951"/>
                </a:cubicBezTo>
                <a:cubicBezTo>
                  <a:pt x="3247" y="1956"/>
                  <a:pt x="3239" y="1962"/>
                  <a:pt x="3232" y="1965"/>
                </a:cubicBezTo>
                <a:cubicBezTo>
                  <a:pt x="3225" y="1968"/>
                  <a:pt x="3213" y="1966"/>
                  <a:pt x="3213" y="1966"/>
                </a:cubicBezTo>
                <a:cubicBezTo>
                  <a:pt x="3213" y="1966"/>
                  <a:pt x="3213" y="1971"/>
                  <a:pt x="3201" y="1972"/>
                </a:cubicBezTo>
                <a:cubicBezTo>
                  <a:pt x="3189" y="1973"/>
                  <a:pt x="3188" y="1962"/>
                  <a:pt x="3188" y="1962"/>
                </a:cubicBezTo>
                <a:cubicBezTo>
                  <a:pt x="3188" y="1962"/>
                  <a:pt x="3166" y="1959"/>
                  <a:pt x="3166" y="1952"/>
                </a:cubicBezTo>
                <a:cubicBezTo>
                  <a:pt x="3166" y="1952"/>
                  <a:pt x="3179" y="1946"/>
                  <a:pt x="3190" y="1941"/>
                </a:cubicBezTo>
                <a:cubicBezTo>
                  <a:pt x="3198" y="1937"/>
                  <a:pt x="3205" y="1934"/>
                  <a:pt x="3206" y="1934"/>
                </a:cubicBezTo>
                <a:cubicBezTo>
                  <a:pt x="3209" y="1934"/>
                  <a:pt x="3213" y="1939"/>
                  <a:pt x="3213" y="1939"/>
                </a:cubicBezTo>
                <a:cubicBezTo>
                  <a:pt x="3213" y="1939"/>
                  <a:pt x="3228" y="1925"/>
                  <a:pt x="3236" y="1923"/>
                </a:cubicBezTo>
                <a:cubicBezTo>
                  <a:pt x="3244" y="1921"/>
                  <a:pt x="3252" y="1924"/>
                  <a:pt x="3252" y="1924"/>
                </a:cubicBezTo>
                <a:cubicBezTo>
                  <a:pt x="3252" y="1924"/>
                  <a:pt x="3257" y="1903"/>
                  <a:pt x="3282" y="1902"/>
                </a:cubicBezTo>
                <a:cubicBezTo>
                  <a:pt x="3307" y="1901"/>
                  <a:pt x="3324" y="1908"/>
                  <a:pt x="3324" y="1908"/>
                </a:cubicBezTo>
                <a:cubicBezTo>
                  <a:pt x="3340" y="1894"/>
                  <a:pt x="3340" y="1894"/>
                  <a:pt x="3340" y="1894"/>
                </a:cubicBezTo>
                <a:cubicBezTo>
                  <a:pt x="3382" y="1896"/>
                  <a:pt x="3382" y="1896"/>
                  <a:pt x="3382" y="1896"/>
                </a:cubicBezTo>
                <a:cubicBezTo>
                  <a:pt x="3391" y="1896"/>
                  <a:pt x="3391" y="1896"/>
                  <a:pt x="3391" y="1896"/>
                </a:cubicBezTo>
                <a:cubicBezTo>
                  <a:pt x="3391" y="1896"/>
                  <a:pt x="3311" y="1937"/>
                  <a:pt x="3303" y="1940"/>
                </a:cubicBezTo>
                <a:close/>
                <a:moveTo>
                  <a:pt x="3446" y="1834"/>
                </a:moveTo>
                <a:cubicBezTo>
                  <a:pt x="3450" y="1834"/>
                  <a:pt x="3467" y="1828"/>
                  <a:pt x="3467" y="1828"/>
                </a:cubicBezTo>
                <a:cubicBezTo>
                  <a:pt x="3467" y="1828"/>
                  <a:pt x="3494" y="1838"/>
                  <a:pt x="3498" y="1838"/>
                </a:cubicBezTo>
                <a:cubicBezTo>
                  <a:pt x="3502" y="1838"/>
                  <a:pt x="3502" y="1822"/>
                  <a:pt x="3502" y="1822"/>
                </a:cubicBezTo>
                <a:cubicBezTo>
                  <a:pt x="3502" y="1822"/>
                  <a:pt x="3509" y="1813"/>
                  <a:pt x="3519" y="1816"/>
                </a:cubicBezTo>
                <a:cubicBezTo>
                  <a:pt x="3522" y="1817"/>
                  <a:pt x="3524" y="1818"/>
                  <a:pt x="3525" y="1819"/>
                </a:cubicBezTo>
                <a:cubicBezTo>
                  <a:pt x="3530" y="1824"/>
                  <a:pt x="3531" y="1830"/>
                  <a:pt x="3531" y="1830"/>
                </a:cubicBezTo>
                <a:cubicBezTo>
                  <a:pt x="3531" y="1830"/>
                  <a:pt x="3530" y="1838"/>
                  <a:pt x="3523" y="1844"/>
                </a:cubicBezTo>
                <a:cubicBezTo>
                  <a:pt x="3516" y="1850"/>
                  <a:pt x="3516" y="1860"/>
                  <a:pt x="3516" y="1860"/>
                </a:cubicBezTo>
                <a:cubicBezTo>
                  <a:pt x="3504" y="1859"/>
                  <a:pt x="3504" y="1859"/>
                  <a:pt x="3504" y="1859"/>
                </a:cubicBezTo>
                <a:cubicBezTo>
                  <a:pt x="3504" y="1859"/>
                  <a:pt x="3504" y="1863"/>
                  <a:pt x="3492" y="1868"/>
                </a:cubicBezTo>
                <a:cubicBezTo>
                  <a:pt x="3480" y="1873"/>
                  <a:pt x="3474" y="1863"/>
                  <a:pt x="3474" y="1863"/>
                </a:cubicBezTo>
                <a:cubicBezTo>
                  <a:pt x="3474" y="1863"/>
                  <a:pt x="3469" y="1871"/>
                  <a:pt x="3456" y="1872"/>
                </a:cubicBezTo>
                <a:cubicBezTo>
                  <a:pt x="3443" y="1873"/>
                  <a:pt x="3439" y="1863"/>
                  <a:pt x="3430" y="1862"/>
                </a:cubicBezTo>
                <a:cubicBezTo>
                  <a:pt x="3421" y="1861"/>
                  <a:pt x="3414" y="1869"/>
                  <a:pt x="3393" y="1874"/>
                </a:cubicBezTo>
                <a:cubicBezTo>
                  <a:pt x="3392" y="1874"/>
                  <a:pt x="3390" y="1875"/>
                  <a:pt x="3389" y="1875"/>
                </a:cubicBezTo>
                <a:cubicBezTo>
                  <a:pt x="3371" y="1879"/>
                  <a:pt x="3365" y="1878"/>
                  <a:pt x="3364" y="1871"/>
                </a:cubicBezTo>
                <a:cubicBezTo>
                  <a:pt x="3363" y="1861"/>
                  <a:pt x="3397" y="1839"/>
                  <a:pt x="3410" y="1839"/>
                </a:cubicBezTo>
                <a:cubicBezTo>
                  <a:pt x="3423" y="1839"/>
                  <a:pt x="3442" y="1834"/>
                  <a:pt x="3446" y="1834"/>
                </a:cubicBezTo>
                <a:close/>
                <a:moveTo>
                  <a:pt x="3263" y="1714"/>
                </a:moveTo>
                <a:cubicBezTo>
                  <a:pt x="3268" y="1713"/>
                  <a:pt x="3276" y="1716"/>
                  <a:pt x="3288" y="1717"/>
                </a:cubicBezTo>
                <a:cubicBezTo>
                  <a:pt x="3300" y="1718"/>
                  <a:pt x="3307" y="1716"/>
                  <a:pt x="3307" y="1716"/>
                </a:cubicBezTo>
                <a:cubicBezTo>
                  <a:pt x="3319" y="1716"/>
                  <a:pt x="3334" y="1728"/>
                  <a:pt x="3345" y="1728"/>
                </a:cubicBezTo>
                <a:cubicBezTo>
                  <a:pt x="3356" y="1728"/>
                  <a:pt x="3366" y="1728"/>
                  <a:pt x="3366" y="1728"/>
                </a:cubicBezTo>
                <a:cubicBezTo>
                  <a:pt x="3388" y="1728"/>
                  <a:pt x="3386" y="1742"/>
                  <a:pt x="3386" y="1751"/>
                </a:cubicBezTo>
                <a:cubicBezTo>
                  <a:pt x="3386" y="1760"/>
                  <a:pt x="3396" y="1749"/>
                  <a:pt x="3396" y="1759"/>
                </a:cubicBezTo>
                <a:cubicBezTo>
                  <a:pt x="3396" y="1769"/>
                  <a:pt x="3392" y="1772"/>
                  <a:pt x="3387" y="1777"/>
                </a:cubicBezTo>
                <a:cubicBezTo>
                  <a:pt x="3382" y="1782"/>
                  <a:pt x="3400" y="1790"/>
                  <a:pt x="3400" y="1790"/>
                </a:cubicBezTo>
                <a:cubicBezTo>
                  <a:pt x="3385" y="1789"/>
                  <a:pt x="3385" y="1789"/>
                  <a:pt x="3385" y="1789"/>
                </a:cubicBezTo>
                <a:cubicBezTo>
                  <a:pt x="3385" y="1789"/>
                  <a:pt x="3385" y="1798"/>
                  <a:pt x="3378" y="1806"/>
                </a:cubicBezTo>
                <a:cubicBezTo>
                  <a:pt x="3370" y="1813"/>
                  <a:pt x="3369" y="1806"/>
                  <a:pt x="3350" y="1796"/>
                </a:cubicBezTo>
                <a:cubicBezTo>
                  <a:pt x="3331" y="1786"/>
                  <a:pt x="3337" y="1767"/>
                  <a:pt x="3337" y="1767"/>
                </a:cubicBezTo>
                <a:cubicBezTo>
                  <a:pt x="3326" y="1762"/>
                  <a:pt x="3326" y="1762"/>
                  <a:pt x="3326" y="1762"/>
                </a:cubicBezTo>
                <a:cubicBezTo>
                  <a:pt x="3328" y="1774"/>
                  <a:pt x="3328" y="1774"/>
                  <a:pt x="3328" y="1774"/>
                </a:cubicBezTo>
                <a:cubicBezTo>
                  <a:pt x="3328" y="1774"/>
                  <a:pt x="3336" y="1787"/>
                  <a:pt x="3328" y="1801"/>
                </a:cubicBezTo>
                <a:cubicBezTo>
                  <a:pt x="3320" y="1815"/>
                  <a:pt x="3302" y="1819"/>
                  <a:pt x="3294" y="1832"/>
                </a:cubicBezTo>
                <a:cubicBezTo>
                  <a:pt x="3286" y="1845"/>
                  <a:pt x="3283" y="1857"/>
                  <a:pt x="3275" y="1866"/>
                </a:cubicBezTo>
                <a:cubicBezTo>
                  <a:pt x="3267" y="1874"/>
                  <a:pt x="3251" y="1881"/>
                  <a:pt x="3244" y="1877"/>
                </a:cubicBezTo>
                <a:cubicBezTo>
                  <a:pt x="3244" y="1876"/>
                  <a:pt x="3243" y="1876"/>
                  <a:pt x="3243" y="1876"/>
                </a:cubicBezTo>
                <a:cubicBezTo>
                  <a:pt x="3237" y="1870"/>
                  <a:pt x="3250" y="1841"/>
                  <a:pt x="3248" y="1833"/>
                </a:cubicBezTo>
                <a:cubicBezTo>
                  <a:pt x="3246" y="1825"/>
                  <a:pt x="3232" y="1832"/>
                  <a:pt x="3226" y="1837"/>
                </a:cubicBezTo>
                <a:cubicBezTo>
                  <a:pt x="3220" y="1842"/>
                  <a:pt x="3192" y="1860"/>
                  <a:pt x="3190" y="1847"/>
                </a:cubicBezTo>
                <a:cubicBezTo>
                  <a:pt x="3189" y="1841"/>
                  <a:pt x="3213" y="1827"/>
                  <a:pt x="3216" y="1822"/>
                </a:cubicBezTo>
                <a:cubicBezTo>
                  <a:pt x="3219" y="1817"/>
                  <a:pt x="3230" y="1814"/>
                  <a:pt x="3239" y="1808"/>
                </a:cubicBezTo>
                <a:cubicBezTo>
                  <a:pt x="3248" y="1802"/>
                  <a:pt x="3240" y="1779"/>
                  <a:pt x="3240" y="1779"/>
                </a:cubicBezTo>
                <a:cubicBezTo>
                  <a:pt x="3240" y="1779"/>
                  <a:pt x="3243" y="1784"/>
                  <a:pt x="3251" y="1767"/>
                </a:cubicBezTo>
                <a:cubicBezTo>
                  <a:pt x="3259" y="1750"/>
                  <a:pt x="3239" y="1757"/>
                  <a:pt x="3230" y="1750"/>
                </a:cubicBezTo>
                <a:cubicBezTo>
                  <a:pt x="3221" y="1743"/>
                  <a:pt x="3221" y="1737"/>
                  <a:pt x="3221" y="1737"/>
                </a:cubicBezTo>
                <a:cubicBezTo>
                  <a:pt x="3221" y="1737"/>
                  <a:pt x="3218" y="1744"/>
                  <a:pt x="3213" y="1739"/>
                </a:cubicBezTo>
                <a:cubicBezTo>
                  <a:pt x="3208" y="1734"/>
                  <a:pt x="3214" y="1724"/>
                  <a:pt x="3214" y="1724"/>
                </a:cubicBezTo>
                <a:cubicBezTo>
                  <a:pt x="3238" y="1728"/>
                  <a:pt x="3238" y="1728"/>
                  <a:pt x="3238" y="1728"/>
                </a:cubicBezTo>
                <a:cubicBezTo>
                  <a:pt x="3238" y="1728"/>
                  <a:pt x="3242" y="1725"/>
                  <a:pt x="3239" y="1717"/>
                </a:cubicBezTo>
                <a:cubicBezTo>
                  <a:pt x="3238" y="1713"/>
                  <a:pt x="3242" y="1713"/>
                  <a:pt x="3247" y="1713"/>
                </a:cubicBezTo>
                <a:cubicBezTo>
                  <a:pt x="3253" y="1713"/>
                  <a:pt x="3260" y="1714"/>
                  <a:pt x="3263" y="1714"/>
                </a:cubicBezTo>
                <a:close/>
                <a:moveTo>
                  <a:pt x="3009" y="1640"/>
                </a:moveTo>
                <a:cubicBezTo>
                  <a:pt x="3021" y="1632"/>
                  <a:pt x="3036" y="1629"/>
                  <a:pt x="3055" y="1625"/>
                </a:cubicBezTo>
                <a:cubicBezTo>
                  <a:pt x="3060" y="1624"/>
                  <a:pt x="3064" y="1622"/>
                  <a:pt x="3068" y="1619"/>
                </a:cubicBezTo>
                <a:cubicBezTo>
                  <a:pt x="3080" y="1611"/>
                  <a:pt x="3087" y="1598"/>
                  <a:pt x="3088" y="1595"/>
                </a:cubicBezTo>
                <a:cubicBezTo>
                  <a:pt x="3089" y="1591"/>
                  <a:pt x="3108" y="1599"/>
                  <a:pt x="3108" y="1599"/>
                </a:cubicBezTo>
                <a:cubicBezTo>
                  <a:pt x="3116" y="1593"/>
                  <a:pt x="3116" y="1593"/>
                  <a:pt x="3116" y="1593"/>
                </a:cubicBezTo>
                <a:cubicBezTo>
                  <a:pt x="3116" y="1593"/>
                  <a:pt x="3123" y="1581"/>
                  <a:pt x="3124" y="1578"/>
                </a:cubicBezTo>
                <a:cubicBezTo>
                  <a:pt x="3125" y="1575"/>
                  <a:pt x="3133" y="1588"/>
                  <a:pt x="3133" y="1588"/>
                </a:cubicBezTo>
                <a:cubicBezTo>
                  <a:pt x="3150" y="1585"/>
                  <a:pt x="3150" y="1585"/>
                  <a:pt x="3150" y="1585"/>
                </a:cubicBezTo>
                <a:cubicBezTo>
                  <a:pt x="3150" y="1585"/>
                  <a:pt x="3141" y="1575"/>
                  <a:pt x="3150" y="1568"/>
                </a:cubicBezTo>
                <a:cubicBezTo>
                  <a:pt x="3159" y="1561"/>
                  <a:pt x="3168" y="1576"/>
                  <a:pt x="3168" y="1576"/>
                </a:cubicBezTo>
                <a:cubicBezTo>
                  <a:pt x="3186" y="1576"/>
                  <a:pt x="3186" y="1576"/>
                  <a:pt x="3186" y="1576"/>
                </a:cubicBezTo>
                <a:cubicBezTo>
                  <a:pt x="3190" y="1580"/>
                  <a:pt x="3190" y="1580"/>
                  <a:pt x="3190" y="1580"/>
                </a:cubicBezTo>
                <a:cubicBezTo>
                  <a:pt x="3190" y="1580"/>
                  <a:pt x="3210" y="1581"/>
                  <a:pt x="3215" y="1586"/>
                </a:cubicBezTo>
                <a:cubicBezTo>
                  <a:pt x="3220" y="1591"/>
                  <a:pt x="3209" y="1617"/>
                  <a:pt x="3209" y="1617"/>
                </a:cubicBezTo>
                <a:cubicBezTo>
                  <a:pt x="3215" y="1624"/>
                  <a:pt x="3215" y="1624"/>
                  <a:pt x="3215" y="1624"/>
                </a:cubicBezTo>
                <a:cubicBezTo>
                  <a:pt x="3209" y="1639"/>
                  <a:pt x="3209" y="1639"/>
                  <a:pt x="3209" y="1639"/>
                </a:cubicBezTo>
                <a:cubicBezTo>
                  <a:pt x="3209" y="1639"/>
                  <a:pt x="3248" y="1616"/>
                  <a:pt x="3259" y="1623"/>
                </a:cubicBezTo>
                <a:cubicBezTo>
                  <a:pt x="3270" y="1630"/>
                  <a:pt x="3242" y="1640"/>
                  <a:pt x="3241" y="1644"/>
                </a:cubicBezTo>
                <a:cubicBezTo>
                  <a:pt x="3240" y="1648"/>
                  <a:pt x="3255" y="1651"/>
                  <a:pt x="3255" y="1656"/>
                </a:cubicBezTo>
                <a:cubicBezTo>
                  <a:pt x="3255" y="1661"/>
                  <a:pt x="3239" y="1667"/>
                  <a:pt x="3239" y="1672"/>
                </a:cubicBezTo>
                <a:cubicBezTo>
                  <a:pt x="3239" y="1677"/>
                  <a:pt x="3252" y="1677"/>
                  <a:pt x="3249" y="1684"/>
                </a:cubicBezTo>
                <a:cubicBezTo>
                  <a:pt x="3246" y="1691"/>
                  <a:pt x="3240" y="1692"/>
                  <a:pt x="3240" y="1692"/>
                </a:cubicBezTo>
                <a:cubicBezTo>
                  <a:pt x="3238" y="1698"/>
                  <a:pt x="3238" y="1698"/>
                  <a:pt x="3238" y="1698"/>
                </a:cubicBezTo>
                <a:cubicBezTo>
                  <a:pt x="3236" y="1706"/>
                  <a:pt x="3236" y="1706"/>
                  <a:pt x="3236" y="1706"/>
                </a:cubicBezTo>
                <a:cubicBezTo>
                  <a:pt x="3220" y="1700"/>
                  <a:pt x="3220" y="1700"/>
                  <a:pt x="3220" y="1700"/>
                </a:cubicBezTo>
                <a:cubicBezTo>
                  <a:pt x="3219" y="1686"/>
                  <a:pt x="3219" y="1686"/>
                  <a:pt x="3219" y="1686"/>
                </a:cubicBezTo>
                <a:cubicBezTo>
                  <a:pt x="3210" y="1688"/>
                  <a:pt x="3210" y="1688"/>
                  <a:pt x="3210" y="1688"/>
                </a:cubicBezTo>
                <a:cubicBezTo>
                  <a:pt x="3199" y="1693"/>
                  <a:pt x="3199" y="1693"/>
                  <a:pt x="3199" y="1693"/>
                </a:cubicBezTo>
                <a:cubicBezTo>
                  <a:pt x="3163" y="1690"/>
                  <a:pt x="3163" y="1690"/>
                  <a:pt x="3163" y="1690"/>
                </a:cubicBezTo>
                <a:cubicBezTo>
                  <a:pt x="3163" y="1690"/>
                  <a:pt x="3150" y="1701"/>
                  <a:pt x="3129" y="1699"/>
                </a:cubicBezTo>
                <a:cubicBezTo>
                  <a:pt x="3108" y="1697"/>
                  <a:pt x="3113" y="1683"/>
                  <a:pt x="3109" y="1678"/>
                </a:cubicBezTo>
                <a:cubicBezTo>
                  <a:pt x="3105" y="1673"/>
                  <a:pt x="3085" y="1684"/>
                  <a:pt x="3082" y="1675"/>
                </a:cubicBezTo>
                <a:cubicBezTo>
                  <a:pt x="3119" y="1654"/>
                  <a:pt x="3119" y="1654"/>
                  <a:pt x="3119" y="1654"/>
                </a:cubicBezTo>
                <a:cubicBezTo>
                  <a:pt x="3119" y="1654"/>
                  <a:pt x="3114" y="1649"/>
                  <a:pt x="3107" y="1649"/>
                </a:cubicBezTo>
                <a:cubicBezTo>
                  <a:pt x="3100" y="1649"/>
                  <a:pt x="3086" y="1661"/>
                  <a:pt x="3082" y="1662"/>
                </a:cubicBezTo>
                <a:cubicBezTo>
                  <a:pt x="3078" y="1663"/>
                  <a:pt x="3056" y="1676"/>
                  <a:pt x="3042" y="1681"/>
                </a:cubicBezTo>
                <a:cubicBezTo>
                  <a:pt x="3028" y="1686"/>
                  <a:pt x="3012" y="1683"/>
                  <a:pt x="3012" y="1683"/>
                </a:cubicBezTo>
                <a:cubicBezTo>
                  <a:pt x="3006" y="1692"/>
                  <a:pt x="3006" y="1692"/>
                  <a:pt x="3006" y="1692"/>
                </a:cubicBezTo>
                <a:cubicBezTo>
                  <a:pt x="3006" y="1692"/>
                  <a:pt x="2982" y="1694"/>
                  <a:pt x="2973" y="1693"/>
                </a:cubicBezTo>
                <a:cubicBezTo>
                  <a:pt x="2964" y="1692"/>
                  <a:pt x="2988" y="1675"/>
                  <a:pt x="2988" y="1675"/>
                </a:cubicBezTo>
                <a:cubicBezTo>
                  <a:pt x="2988" y="1675"/>
                  <a:pt x="2978" y="1679"/>
                  <a:pt x="2959" y="1680"/>
                </a:cubicBezTo>
                <a:cubicBezTo>
                  <a:pt x="2940" y="1681"/>
                  <a:pt x="2938" y="1693"/>
                  <a:pt x="2921" y="1687"/>
                </a:cubicBezTo>
                <a:cubicBezTo>
                  <a:pt x="2904" y="1681"/>
                  <a:pt x="2997" y="1648"/>
                  <a:pt x="3009" y="1640"/>
                </a:cubicBezTo>
                <a:close/>
                <a:moveTo>
                  <a:pt x="2864" y="1316"/>
                </a:moveTo>
                <a:cubicBezTo>
                  <a:pt x="2874" y="1312"/>
                  <a:pt x="2873" y="1319"/>
                  <a:pt x="2877" y="1320"/>
                </a:cubicBezTo>
                <a:cubicBezTo>
                  <a:pt x="2881" y="1321"/>
                  <a:pt x="2892" y="1318"/>
                  <a:pt x="2900" y="1335"/>
                </a:cubicBezTo>
                <a:cubicBezTo>
                  <a:pt x="2908" y="1352"/>
                  <a:pt x="2887" y="1368"/>
                  <a:pt x="2887" y="1368"/>
                </a:cubicBezTo>
                <a:cubicBezTo>
                  <a:pt x="2887" y="1368"/>
                  <a:pt x="2884" y="1397"/>
                  <a:pt x="2885" y="1406"/>
                </a:cubicBezTo>
                <a:cubicBezTo>
                  <a:pt x="2886" y="1415"/>
                  <a:pt x="2881" y="1424"/>
                  <a:pt x="2878" y="1429"/>
                </a:cubicBezTo>
                <a:cubicBezTo>
                  <a:pt x="2875" y="1434"/>
                  <a:pt x="2882" y="1435"/>
                  <a:pt x="2885" y="1446"/>
                </a:cubicBezTo>
                <a:cubicBezTo>
                  <a:pt x="2888" y="1457"/>
                  <a:pt x="2864" y="1484"/>
                  <a:pt x="2864" y="1484"/>
                </a:cubicBezTo>
                <a:cubicBezTo>
                  <a:pt x="2850" y="1479"/>
                  <a:pt x="2850" y="1479"/>
                  <a:pt x="2850" y="1479"/>
                </a:cubicBezTo>
                <a:cubicBezTo>
                  <a:pt x="2850" y="1479"/>
                  <a:pt x="2847" y="1498"/>
                  <a:pt x="2830" y="1495"/>
                </a:cubicBezTo>
                <a:cubicBezTo>
                  <a:pt x="2813" y="1492"/>
                  <a:pt x="2869" y="1444"/>
                  <a:pt x="2869" y="1432"/>
                </a:cubicBezTo>
                <a:cubicBezTo>
                  <a:pt x="2869" y="1420"/>
                  <a:pt x="2848" y="1440"/>
                  <a:pt x="2848" y="1440"/>
                </a:cubicBezTo>
                <a:cubicBezTo>
                  <a:pt x="2861" y="1419"/>
                  <a:pt x="2861" y="1419"/>
                  <a:pt x="2861" y="1419"/>
                </a:cubicBezTo>
                <a:cubicBezTo>
                  <a:pt x="2861" y="1419"/>
                  <a:pt x="2865" y="1406"/>
                  <a:pt x="2854" y="1403"/>
                </a:cubicBezTo>
                <a:cubicBezTo>
                  <a:pt x="2843" y="1400"/>
                  <a:pt x="2849" y="1420"/>
                  <a:pt x="2836" y="1420"/>
                </a:cubicBezTo>
                <a:cubicBezTo>
                  <a:pt x="2823" y="1420"/>
                  <a:pt x="2833" y="1389"/>
                  <a:pt x="2833" y="1389"/>
                </a:cubicBezTo>
                <a:cubicBezTo>
                  <a:pt x="2833" y="1389"/>
                  <a:pt x="2827" y="1383"/>
                  <a:pt x="2825" y="1374"/>
                </a:cubicBezTo>
                <a:cubicBezTo>
                  <a:pt x="2823" y="1365"/>
                  <a:pt x="2847" y="1365"/>
                  <a:pt x="2849" y="1359"/>
                </a:cubicBezTo>
                <a:cubicBezTo>
                  <a:pt x="2851" y="1353"/>
                  <a:pt x="2829" y="1362"/>
                  <a:pt x="2825" y="1353"/>
                </a:cubicBezTo>
                <a:cubicBezTo>
                  <a:pt x="2824" y="1351"/>
                  <a:pt x="2854" y="1320"/>
                  <a:pt x="2864" y="1316"/>
                </a:cubicBezTo>
                <a:close/>
                <a:moveTo>
                  <a:pt x="2777" y="867"/>
                </a:moveTo>
                <a:cubicBezTo>
                  <a:pt x="2795" y="866"/>
                  <a:pt x="2833" y="870"/>
                  <a:pt x="2830" y="874"/>
                </a:cubicBezTo>
                <a:cubicBezTo>
                  <a:pt x="2827" y="878"/>
                  <a:pt x="2806" y="888"/>
                  <a:pt x="2806" y="885"/>
                </a:cubicBezTo>
                <a:cubicBezTo>
                  <a:pt x="2806" y="882"/>
                  <a:pt x="2794" y="868"/>
                  <a:pt x="2790" y="875"/>
                </a:cubicBezTo>
                <a:cubicBezTo>
                  <a:pt x="2786" y="882"/>
                  <a:pt x="2787" y="889"/>
                  <a:pt x="2787" y="889"/>
                </a:cubicBezTo>
                <a:cubicBezTo>
                  <a:pt x="2787" y="889"/>
                  <a:pt x="2773" y="881"/>
                  <a:pt x="2767" y="883"/>
                </a:cubicBezTo>
                <a:cubicBezTo>
                  <a:pt x="2761" y="885"/>
                  <a:pt x="2765" y="892"/>
                  <a:pt x="2765" y="892"/>
                </a:cubicBezTo>
                <a:cubicBezTo>
                  <a:pt x="2748" y="894"/>
                  <a:pt x="2748" y="894"/>
                  <a:pt x="2748" y="894"/>
                </a:cubicBezTo>
                <a:cubicBezTo>
                  <a:pt x="2748" y="894"/>
                  <a:pt x="2736" y="890"/>
                  <a:pt x="2721" y="900"/>
                </a:cubicBezTo>
                <a:cubicBezTo>
                  <a:pt x="2706" y="910"/>
                  <a:pt x="2677" y="929"/>
                  <a:pt x="2663" y="932"/>
                </a:cubicBezTo>
                <a:cubicBezTo>
                  <a:pt x="2649" y="935"/>
                  <a:pt x="2629" y="941"/>
                  <a:pt x="2629" y="941"/>
                </a:cubicBezTo>
                <a:cubicBezTo>
                  <a:pt x="2629" y="941"/>
                  <a:pt x="2598" y="933"/>
                  <a:pt x="2590" y="941"/>
                </a:cubicBezTo>
                <a:cubicBezTo>
                  <a:pt x="2582" y="949"/>
                  <a:pt x="2576" y="960"/>
                  <a:pt x="2576" y="960"/>
                </a:cubicBezTo>
                <a:cubicBezTo>
                  <a:pt x="2547" y="960"/>
                  <a:pt x="2547" y="960"/>
                  <a:pt x="2547" y="960"/>
                </a:cubicBezTo>
                <a:cubicBezTo>
                  <a:pt x="2541" y="966"/>
                  <a:pt x="2541" y="966"/>
                  <a:pt x="2541" y="966"/>
                </a:cubicBezTo>
                <a:cubicBezTo>
                  <a:pt x="2541" y="966"/>
                  <a:pt x="2527" y="963"/>
                  <a:pt x="2520" y="965"/>
                </a:cubicBezTo>
                <a:cubicBezTo>
                  <a:pt x="2513" y="967"/>
                  <a:pt x="2494" y="970"/>
                  <a:pt x="2487" y="969"/>
                </a:cubicBezTo>
                <a:cubicBezTo>
                  <a:pt x="2480" y="968"/>
                  <a:pt x="2469" y="960"/>
                  <a:pt x="2466" y="961"/>
                </a:cubicBezTo>
                <a:cubicBezTo>
                  <a:pt x="2463" y="962"/>
                  <a:pt x="2445" y="959"/>
                  <a:pt x="2445" y="955"/>
                </a:cubicBezTo>
                <a:cubicBezTo>
                  <a:pt x="2445" y="951"/>
                  <a:pt x="2467" y="952"/>
                  <a:pt x="2467" y="952"/>
                </a:cubicBezTo>
                <a:cubicBezTo>
                  <a:pt x="2467" y="952"/>
                  <a:pt x="2476" y="942"/>
                  <a:pt x="2479" y="942"/>
                </a:cubicBezTo>
                <a:cubicBezTo>
                  <a:pt x="2482" y="942"/>
                  <a:pt x="2490" y="950"/>
                  <a:pt x="2500" y="950"/>
                </a:cubicBezTo>
                <a:cubicBezTo>
                  <a:pt x="2510" y="950"/>
                  <a:pt x="2510" y="942"/>
                  <a:pt x="2510" y="942"/>
                </a:cubicBezTo>
                <a:cubicBezTo>
                  <a:pt x="2521" y="942"/>
                  <a:pt x="2521" y="942"/>
                  <a:pt x="2521" y="942"/>
                </a:cubicBezTo>
                <a:cubicBezTo>
                  <a:pt x="2521" y="942"/>
                  <a:pt x="2531" y="924"/>
                  <a:pt x="2541" y="923"/>
                </a:cubicBezTo>
                <a:cubicBezTo>
                  <a:pt x="2551" y="922"/>
                  <a:pt x="2554" y="931"/>
                  <a:pt x="2572" y="924"/>
                </a:cubicBezTo>
                <a:cubicBezTo>
                  <a:pt x="2590" y="917"/>
                  <a:pt x="2575" y="895"/>
                  <a:pt x="2575" y="895"/>
                </a:cubicBezTo>
                <a:cubicBezTo>
                  <a:pt x="2575" y="895"/>
                  <a:pt x="2553" y="881"/>
                  <a:pt x="2567" y="875"/>
                </a:cubicBezTo>
                <a:cubicBezTo>
                  <a:pt x="2573" y="872"/>
                  <a:pt x="2581" y="885"/>
                  <a:pt x="2581" y="885"/>
                </a:cubicBezTo>
                <a:cubicBezTo>
                  <a:pt x="2589" y="884"/>
                  <a:pt x="2589" y="884"/>
                  <a:pt x="2589" y="884"/>
                </a:cubicBezTo>
                <a:cubicBezTo>
                  <a:pt x="2601" y="895"/>
                  <a:pt x="2601" y="895"/>
                  <a:pt x="2601" y="895"/>
                </a:cubicBezTo>
                <a:cubicBezTo>
                  <a:pt x="2601" y="895"/>
                  <a:pt x="2615" y="894"/>
                  <a:pt x="2619" y="897"/>
                </a:cubicBezTo>
                <a:cubicBezTo>
                  <a:pt x="2623" y="900"/>
                  <a:pt x="2612" y="915"/>
                  <a:pt x="2635" y="914"/>
                </a:cubicBezTo>
                <a:cubicBezTo>
                  <a:pt x="2658" y="913"/>
                  <a:pt x="2658" y="908"/>
                  <a:pt x="2658" y="908"/>
                </a:cubicBezTo>
                <a:cubicBezTo>
                  <a:pt x="2669" y="909"/>
                  <a:pt x="2669" y="909"/>
                  <a:pt x="2669" y="909"/>
                </a:cubicBezTo>
                <a:cubicBezTo>
                  <a:pt x="2669" y="909"/>
                  <a:pt x="2709" y="893"/>
                  <a:pt x="2723" y="884"/>
                </a:cubicBezTo>
                <a:cubicBezTo>
                  <a:pt x="2737" y="875"/>
                  <a:pt x="2759" y="868"/>
                  <a:pt x="2777" y="867"/>
                </a:cubicBezTo>
                <a:close/>
                <a:moveTo>
                  <a:pt x="2442" y="702"/>
                </a:moveTo>
                <a:cubicBezTo>
                  <a:pt x="2452" y="697"/>
                  <a:pt x="2461" y="703"/>
                  <a:pt x="2474" y="703"/>
                </a:cubicBezTo>
                <a:cubicBezTo>
                  <a:pt x="2487" y="703"/>
                  <a:pt x="2483" y="694"/>
                  <a:pt x="2483" y="694"/>
                </a:cubicBezTo>
                <a:cubicBezTo>
                  <a:pt x="2553" y="689"/>
                  <a:pt x="2553" y="689"/>
                  <a:pt x="2553" y="689"/>
                </a:cubicBezTo>
                <a:cubicBezTo>
                  <a:pt x="2553" y="689"/>
                  <a:pt x="2588" y="679"/>
                  <a:pt x="2601" y="677"/>
                </a:cubicBezTo>
                <a:cubicBezTo>
                  <a:pt x="2614" y="675"/>
                  <a:pt x="2622" y="682"/>
                  <a:pt x="2622" y="682"/>
                </a:cubicBezTo>
                <a:cubicBezTo>
                  <a:pt x="2622" y="682"/>
                  <a:pt x="2625" y="676"/>
                  <a:pt x="2632" y="673"/>
                </a:cubicBezTo>
                <a:cubicBezTo>
                  <a:pt x="2639" y="670"/>
                  <a:pt x="2661" y="680"/>
                  <a:pt x="2661" y="680"/>
                </a:cubicBezTo>
                <a:cubicBezTo>
                  <a:pt x="2661" y="680"/>
                  <a:pt x="2639" y="686"/>
                  <a:pt x="2631" y="690"/>
                </a:cubicBezTo>
                <a:cubicBezTo>
                  <a:pt x="2623" y="694"/>
                  <a:pt x="2589" y="696"/>
                  <a:pt x="2589" y="696"/>
                </a:cubicBezTo>
                <a:cubicBezTo>
                  <a:pt x="2587" y="704"/>
                  <a:pt x="2587" y="704"/>
                  <a:pt x="2587" y="704"/>
                </a:cubicBezTo>
                <a:cubicBezTo>
                  <a:pt x="2605" y="704"/>
                  <a:pt x="2605" y="704"/>
                  <a:pt x="2605" y="704"/>
                </a:cubicBezTo>
                <a:cubicBezTo>
                  <a:pt x="2605" y="704"/>
                  <a:pt x="2616" y="707"/>
                  <a:pt x="2620" y="707"/>
                </a:cubicBezTo>
                <a:cubicBezTo>
                  <a:pt x="2624" y="707"/>
                  <a:pt x="2650" y="704"/>
                  <a:pt x="2664" y="703"/>
                </a:cubicBezTo>
                <a:cubicBezTo>
                  <a:pt x="2678" y="702"/>
                  <a:pt x="2658" y="693"/>
                  <a:pt x="2658" y="693"/>
                </a:cubicBezTo>
                <a:cubicBezTo>
                  <a:pt x="2695" y="692"/>
                  <a:pt x="2695" y="692"/>
                  <a:pt x="2695" y="692"/>
                </a:cubicBezTo>
                <a:cubicBezTo>
                  <a:pt x="2695" y="692"/>
                  <a:pt x="2690" y="705"/>
                  <a:pt x="2671" y="711"/>
                </a:cubicBezTo>
                <a:cubicBezTo>
                  <a:pt x="2652" y="717"/>
                  <a:pt x="2640" y="724"/>
                  <a:pt x="2640" y="724"/>
                </a:cubicBezTo>
                <a:cubicBezTo>
                  <a:pt x="2640" y="724"/>
                  <a:pt x="2639" y="736"/>
                  <a:pt x="2631" y="738"/>
                </a:cubicBezTo>
                <a:cubicBezTo>
                  <a:pt x="2623" y="740"/>
                  <a:pt x="2601" y="729"/>
                  <a:pt x="2601" y="729"/>
                </a:cubicBezTo>
                <a:cubicBezTo>
                  <a:pt x="2596" y="736"/>
                  <a:pt x="2596" y="736"/>
                  <a:pt x="2596" y="736"/>
                </a:cubicBezTo>
                <a:cubicBezTo>
                  <a:pt x="2586" y="727"/>
                  <a:pt x="2586" y="727"/>
                  <a:pt x="2586" y="727"/>
                </a:cubicBezTo>
                <a:cubicBezTo>
                  <a:pt x="2576" y="737"/>
                  <a:pt x="2576" y="737"/>
                  <a:pt x="2576" y="737"/>
                </a:cubicBezTo>
                <a:cubicBezTo>
                  <a:pt x="2576" y="737"/>
                  <a:pt x="2568" y="731"/>
                  <a:pt x="2562" y="738"/>
                </a:cubicBezTo>
                <a:cubicBezTo>
                  <a:pt x="2556" y="745"/>
                  <a:pt x="2568" y="751"/>
                  <a:pt x="2568" y="751"/>
                </a:cubicBezTo>
                <a:cubicBezTo>
                  <a:pt x="2547" y="754"/>
                  <a:pt x="2547" y="754"/>
                  <a:pt x="2547" y="754"/>
                </a:cubicBezTo>
                <a:cubicBezTo>
                  <a:pt x="2547" y="754"/>
                  <a:pt x="2532" y="764"/>
                  <a:pt x="2529" y="764"/>
                </a:cubicBezTo>
                <a:cubicBezTo>
                  <a:pt x="2526" y="764"/>
                  <a:pt x="2483" y="777"/>
                  <a:pt x="2472" y="773"/>
                </a:cubicBezTo>
                <a:cubicBezTo>
                  <a:pt x="2461" y="769"/>
                  <a:pt x="2500" y="762"/>
                  <a:pt x="2515" y="759"/>
                </a:cubicBezTo>
                <a:cubicBezTo>
                  <a:pt x="2530" y="756"/>
                  <a:pt x="2552" y="739"/>
                  <a:pt x="2539" y="737"/>
                </a:cubicBezTo>
                <a:cubicBezTo>
                  <a:pt x="2526" y="735"/>
                  <a:pt x="2474" y="764"/>
                  <a:pt x="2461" y="766"/>
                </a:cubicBezTo>
                <a:cubicBezTo>
                  <a:pt x="2448" y="768"/>
                  <a:pt x="2422" y="764"/>
                  <a:pt x="2413" y="759"/>
                </a:cubicBezTo>
                <a:cubicBezTo>
                  <a:pt x="2404" y="754"/>
                  <a:pt x="2444" y="753"/>
                  <a:pt x="2451" y="748"/>
                </a:cubicBezTo>
                <a:cubicBezTo>
                  <a:pt x="2458" y="743"/>
                  <a:pt x="2486" y="733"/>
                  <a:pt x="2486" y="733"/>
                </a:cubicBezTo>
                <a:cubicBezTo>
                  <a:pt x="2486" y="733"/>
                  <a:pt x="2481" y="725"/>
                  <a:pt x="2487" y="722"/>
                </a:cubicBezTo>
                <a:cubicBezTo>
                  <a:pt x="2493" y="719"/>
                  <a:pt x="2511" y="728"/>
                  <a:pt x="2533" y="722"/>
                </a:cubicBezTo>
                <a:cubicBezTo>
                  <a:pt x="2555" y="716"/>
                  <a:pt x="2535" y="704"/>
                  <a:pt x="2516" y="704"/>
                </a:cubicBezTo>
                <a:cubicBezTo>
                  <a:pt x="2497" y="704"/>
                  <a:pt x="2492" y="711"/>
                  <a:pt x="2481" y="716"/>
                </a:cubicBezTo>
                <a:cubicBezTo>
                  <a:pt x="2470" y="721"/>
                  <a:pt x="2471" y="711"/>
                  <a:pt x="2471" y="711"/>
                </a:cubicBezTo>
                <a:cubicBezTo>
                  <a:pt x="2459" y="716"/>
                  <a:pt x="2459" y="716"/>
                  <a:pt x="2459" y="716"/>
                </a:cubicBezTo>
                <a:cubicBezTo>
                  <a:pt x="2436" y="713"/>
                  <a:pt x="2436" y="713"/>
                  <a:pt x="2436" y="713"/>
                </a:cubicBezTo>
                <a:cubicBezTo>
                  <a:pt x="2436" y="713"/>
                  <a:pt x="2415" y="723"/>
                  <a:pt x="2406" y="720"/>
                </a:cubicBezTo>
                <a:cubicBezTo>
                  <a:pt x="2397" y="717"/>
                  <a:pt x="2432" y="707"/>
                  <a:pt x="2442" y="702"/>
                </a:cubicBezTo>
                <a:close/>
                <a:moveTo>
                  <a:pt x="2739" y="3603"/>
                </a:moveTo>
                <a:cubicBezTo>
                  <a:pt x="2739" y="3603"/>
                  <a:pt x="2719" y="3594"/>
                  <a:pt x="2713" y="3592"/>
                </a:cubicBezTo>
                <a:cubicBezTo>
                  <a:pt x="2712" y="3592"/>
                  <a:pt x="2712" y="3592"/>
                  <a:pt x="2711" y="3592"/>
                </a:cubicBezTo>
                <a:cubicBezTo>
                  <a:pt x="2711" y="3591"/>
                  <a:pt x="2711" y="3591"/>
                  <a:pt x="2711" y="3591"/>
                </a:cubicBezTo>
                <a:cubicBezTo>
                  <a:pt x="2708" y="3589"/>
                  <a:pt x="2697" y="3585"/>
                  <a:pt x="2700" y="3581"/>
                </a:cubicBezTo>
                <a:cubicBezTo>
                  <a:pt x="2703" y="3577"/>
                  <a:pt x="2718" y="3582"/>
                  <a:pt x="2714" y="3575"/>
                </a:cubicBezTo>
                <a:cubicBezTo>
                  <a:pt x="2710" y="3569"/>
                  <a:pt x="2709" y="3569"/>
                  <a:pt x="2709" y="3569"/>
                </a:cubicBezTo>
                <a:cubicBezTo>
                  <a:pt x="2709" y="3569"/>
                  <a:pt x="2698" y="3573"/>
                  <a:pt x="2698" y="3571"/>
                </a:cubicBezTo>
                <a:cubicBezTo>
                  <a:pt x="2697" y="3569"/>
                  <a:pt x="2691" y="3541"/>
                  <a:pt x="2698" y="3543"/>
                </a:cubicBezTo>
                <a:cubicBezTo>
                  <a:pt x="2705" y="3545"/>
                  <a:pt x="2738" y="3571"/>
                  <a:pt x="2742" y="3579"/>
                </a:cubicBezTo>
                <a:cubicBezTo>
                  <a:pt x="2745" y="3583"/>
                  <a:pt x="2746" y="3591"/>
                  <a:pt x="2747" y="3598"/>
                </a:cubicBezTo>
                <a:cubicBezTo>
                  <a:pt x="2747" y="3598"/>
                  <a:pt x="2747" y="3598"/>
                  <a:pt x="2747" y="3598"/>
                </a:cubicBezTo>
                <a:cubicBezTo>
                  <a:pt x="2738" y="3598"/>
                  <a:pt x="2739" y="3603"/>
                  <a:pt x="2739" y="3603"/>
                </a:cubicBezTo>
                <a:close/>
                <a:moveTo>
                  <a:pt x="3523" y="5086"/>
                </a:moveTo>
                <a:cubicBezTo>
                  <a:pt x="3517" y="5079"/>
                  <a:pt x="3517" y="5079"/>
                  <a:pt x="3517" y="5079"/>
                </a:cubicBezTo>
                <a:cubicBezTo>
                  <a:pt x="3509" y="5070"/>
                  <a:pt x="3509" y="5070"/>
                  <a:pt x="3509" y="5070"/>
                </a:cubicBezTo>
                <a:cubicBezTo>
                  <a:pt x="3509" y="5070"/>
                  <a:pt x="3499" y="5063"/>
                  <a:pt x="3491" y="5059"/>
                </a:cubicBezTo>
                <a:cubicBezTo>
                  <a:pt x="3483" y="5055"/>
                  <a:pt x="3480" y="5047"/>
                  <a:pt x="3480" y="5047"/>
                </a:cubicBezTo>
                <a:cubicBezTo>
                  <a:pt x="3480" y="5047"/>
                  <a:pt x="3466" y="5049"/>
                  <a:pt x="3462" y="5044"/>
                </a:cubicBezTo>
                <a:cubicBezTo>
                  <a:pt x="3467" y="5030"/>
                  <a:pt x="3467" y="5030"/>
                  <a:pt x="3467" y="5030"/>
                </a:cubicBezTo>
                <a:cubicBezTo>
                  <a:pt x="3467" y="5030"/>
                  <a:pt x="3463" y="5015"/>
                  <a:pt x="3468" y="5011"/>
                </a:cubicBezTo>
                <a:cubicBezTo>
                  <a:pt x="3471" y="5008"/>
                  <a:pt x="3485" y="5020"/>
                  <a:pt x="3494" y="5028"/>
                </a:cubicBezTo>
                <a:cubicBezTo>
                  <a:pt x="3499" y="5032"/>
                  <a:pt x="3502" y="5036"/>
                  <a:pt x="3502" y="5036"/>
                </a:cubicBezTo>
                <a:cubicBezTo>
                  <a:pt x="3517" y="5049"/>
                  <a:pt x="3517" y="5049"/>
                  <a:pt x="3517" y="5049"/>
                </a:cubicBezTo>
                <a:cubicBezTo>
                  <a:pt x="3518" y="5061"/>
                  <a:pt x="3518" y="5061"/>
                  <a:pt x="3518" y="5061"/>
                </a:cubicBezTo>
                <a:cubicBezTo>
                  <a:pt x="3531" y="5069"/>
                  <a:pt x="3531" y="5069"/>
                  <a:pt x="3531" y="5069"/>
                </a:cubicBezTo>
                <a:lnTo>
                  <a:pt x="3523" y="5086"/>
                </a:lnTo>
                <a:close/>
                <a:moveTo>
                  <a:pt x="3432" y="3548"/>
                </a:moveTo>
                <a:cubicBezTo>
                  <a:pt x="3432" y="3553"/>
                  <a:pt x="3439" y="3569"/>
                  <a:pt x="3439" y="3569"/>
                </a:cubicBezTo>
                <a:cubicBezTo>
                  <a:pt x="3456" y="3568"/>
                  <a:pt x="3456" y="3568"/>
                  <a:pt x="3456" y="3568"/>
                </a:cubicBezTo>
                <a:cubicBezTo>
                  <a:pt x="3456" y="3568"/>
                  <a:pt x="3461" y="3541"/>
                  <a:pt x="3449" y="3538"/>
                </a:cubicBezTo>
                <a:cubicBezTo>
                  <a:pt x="3438" y="3535"/>
                  <a:pt x="3432" y="3542"/>
                  <a:pt x="3432" y="3548"/>
                </a:cubicBezTo>
                <a:close/>
                <a:moveTo>
                  <a:pt x="2936" y="4356"/>
                </a:moveTo>
                <a:cubicBezTo>
                  <a:pt x="2951" y="4352"/>
                  <a:pt x="2953" y="4332"/>
                  <a:pt x="2943" y="4336"/>
                </a:cubicBezTo>
                <a:cubicBezTo>
                  <a:pt x="2934" y="4340"/>
                  <a:pt x="2928" y="4357"/>
                  <a:pt x="2936" y="4356"/>
                </a:cubicBezTo>
                <a:close/>
                <a:moveTo>
                  <a:pt x="3616" y="6574"/>
                </a:moveTo>
                <a:cubicBezTo>
                  <a:pt x="3603" y="6577"/>
                  <a:pt x="3603" y="6577"/>
                  <a:pt x="3603" y="6577"/>
                </a:cubicBezTo>
                <a:cubicBezTo>
                  <a:pt x="3610" y="6590"/>
                  <a:pt x="3610" y="6590"/>
                  <a:pt x="3610" y="6590"/>
                </a:cubicBezTo>
                <a:lnTo>
                  <a:pt x="3616" y="6574"/>
                </a:lnTo>
                <a:close/>
                <a:moveTo>
                  <a:pt x="3626" y="6546"/>
                </a:moveTo>
                <a:cubicBezTo>
                  <a:pt x="3612" y="6557"/>
                  <a:pt x="3619" y="6567"/>
                  <a:pt x="3629" y="6564"/>
                </a:cubicBezTo>
                <a:cubicBezTo>
                  <a:pt x="3641" y="6560"/>
                  <a:pt x="3640" y="6536"/>
                  <a:pt x="3626" y="6546"/>
                </a:cubicBezTo>
                <a:close/>
                <a:moveTo>
                  <a:pt x="3828" y="7023"/>
                </a:moveTo>
                <a:cubicBezTo>
                  <a:pt x="3805" y="7010"/>
                  <a:pt x="3805" y="7010"/>
                  <a:pt x="3805" y="7010"/>
                </a:cubicBezTo>
                <a:cubicBezTo>
                  <a:pt x="3822" y="7029"/>
                  <a:pt x="3822" y="7029"/>
                  <a:pt x="3822" y="7029"/>
                </a:cubicBezTo>
                <a:cubicBezTo>
                  <a:pt x="3853" y="7033"/>
                  <a:pt x="3853" y="7033"/>
                  <a:pt x="3853" y="7033"/>
                </a:cubicBezTo>
                <a:cubicBezTo>
                  <a:pt x="3864" y="7040"/>
                  <a:pt x="3864" y="7040"/>
                  <a:pt x="3864" y="7040"/>
                </a:cubicBezTo>
                <a:cubicBezTo>
                  <a:pt x="3853" y="7026"/>
                  <a:pt x="3853" y="7026"/>
                  <a:pt x="3853" y="7026"/>
                </a:cubicBezTo>
                <a:lnTo>
                  <a:pt x="3828" y="7023"/>
                </a:lnTo>
                <a:close/>
                <a:moveTo>
                  <a:pt x="3646" y="6620"/>
                </a:moveTo>
                <a:cubicBezTo>
                  <a:pt x="3648" y="6632"/>
                  <a:pt x="3648" y="6632"/>
                  <a:pt x="3648" y="6632"/>
                </a:cubicBezTo>
                <a:cubicBezTo>
                  <a:pt x="3664" y="6642"/>
                  <a:pt x="3664" y="6642"/>
                  <a:pt x="3664" y="6642"/>
                </a:cubicBezTo>
                <a:cubicBezTo>
                  <a:pt x="3664" y="6626"/>
                  <a:pt x="3664" y="6626"/>
                  <a:pt x="3664" y="6626"/>
                </a:cubicBezTo>
                <a:cubicBezTo>
                  <a:pt x="3655" y="6610"/>
                  <a:pt x="3655" y="6610"/>
                  <a:pt x="3655" y="6610"/>
                </a:cubicBezTo>
                <a:cubicBezTo>
                  <a:pt x="3633" y="6611"/>
                  <a:pt x="3633" y="6611"/>
                  <a:pt x="3633" y="6611"/>
                </a:cubicBezTo>
                <a:lnTo>
                  <a:pt x="3646" y="6620"/>
                </a:lnTo>
                <a:close/>
                <a:moveTo>
                  <a:pt x="3623" y="6590"/>
                </a:moveTo>
                <a:cubicBezTo>
                  <a:pt x="3630" y="6598"/>
                  <a:pt x="3630" y="6598"/>
                  <a:pt x="3630" y="6598"/>
                </a:cubicBezTo>
                <a:cubicBezTo>
                  <a:pt x="3648" y="6598"/>
                  <a:pt x="3648" y="6598"/>
                  <a:pt x="3648" y="6598"/>
                </a:cubicBezTo>
                <a:cubicBezTo>
                  <a:pt x="3655" y="6585"/>
                  <a:pt x="3655" y="6585"/>
                  <a:pt x="3655" y="6585"/>
                </a:cubicBezTo>
                <a:cubicBezTo>
                  <a:pt x="3636" y="6590"/>
                  <a:pt x="3636" y="6590"/>
                  <a:pt x="3636" y="6590"/>
                </a:cubicBezTo>
                <a:lnTo>
                  <a:pt x="3623" y="6590"/>
                </a:lnTo>
                <a:close/>
                <a:moveTo>
                  <a:pt x="3708" y="6864"/>
                </a:moveTo>
                <a:cubicBezTo>
                  <a:pt x="3713" y="6863"/>
                  <a:pt x="3716" y="6854"/>
                  <a:pt x="3716" y="6854"/>
                </a:cubicBezTo>
                <a:cubicBezTo>
                  <a:pt x="3736" y="6871"/>
                  <a:pt x="3736" y="6871"/>
                  <a:pt x="3736" y="6871"/>
                </a:cubicBezTo>
                <a:cubicBezTo>
                  <a:pt x="3737" y="6855"/>
                  <a:pt x="3737" y="6855"/>
                  <a:pt x="3737" y="6855"/>
                </a:cubicBezTo>
                <a:cubicBezTo>
                  <a:pt x="3717" y="6834"/>
                  <a:pt x="3717" y="6834"/>
                  <a:pt x="3717" y="6834"/>
                </a:cubicBezTo>
                <a:cubicBezTo>
                  <a:pt x="3717" y="6834"/>
                  <a:pt x="3701" y="6811"/>
                  <a:pt x="3701" y="6799"/>
                </a:cubicBezTo>
                <a:cubicBezTo>
                  <a:pt x="3701" y="6788"/>
                  <a:pt x="3690" y="6776"/>
                  <a:pt x="3679" y="6770"/>
                </a:cubicBezTo>
                <a:cubicBezTo>
                  <a:pt x="3669" y="6765"/>
                  <a:pt x="3669" y="6776"/>
                  <a:pt x="3669" y="6776"/>
                </a:cubicBezTo>
                <a:cubicBezTo>
                  <a:pt x="3655" y="6772"/>
                  <a:pt x="3655" y="6772"/>
                  <a:pt x="3655" y="6772"/>
                </a:cubicBezTo>
                <a:cubicBezTo>
                  <a:pt x="3655" y="6772"/>
                  <a:pt x="3640" y="6799"/>
                  <a:pt x="3651" y="6799"/>
                </a:cubicBezTo>
                <a:cubicBezTo>
                  <a:pt x="3661" y="6799"/>
                  <a:pt x="3681" y="6799"/>
                  <a:pt x="3681" y="6799"/>
                </a:cubicBezTo>
                <a:cubicBezTo>
                  <a:pt x="3668" y="6825"/>
                  <a:pt x="3668" y="6825"/>
                  <a:pt x="3668" y="6825"/>
                </a:cubicBezTo>
                <a:cubicBezTo>
                  <a:pt x="3677" y="6825"/>
                  <a:pt x="3677" y="6825"/>
                  <a:pt x="3677" y="6825"/>
                </a:cubicBezTo>
                <a:cubicBezTo>
                  <a:pt x="3691" y="6812"/>
                  <a:pt x="3691" y="6812"/>
                  <a:pt x="3691" y="6812"/>
                </a:cubicBezTo>
                <a:cubicBezTo>
                  <a:pt x="3690" y="6828"/>
                  <a:pt x="3690" y="6828"/>
                  <a:pt x="3690" y="6828"/>
                </a:cubicBezTo>
                <a:cubicBezTo>
                  <a:pt x="3690" y="6828"/>
                  <a:pt x="3704" y="6866"/>
                  <a:pt x="3708" y="6864"/>
                </a:cubicBezTo>
                <a:close/>
                <a:moveTo>
                  <a:pt x="3703" y="6889"/>
                </a:moveTo>
                <a:cubicBezTo>
                  <a:pt x="3714" y="6890"/>
                  <a:pt x="3714" y="6890"/>
                  <a:pt x="3714" y="6890"/>
                </a:cubicBezTo>
                <a:cubicBezTo>
                  <a:pt x="3721" y="6912"/>
                  <a:pt x="3721" y="6912"/>
                  <a:pt x="3721" y="6912"/>
                </a:cubicBezTo>
                <a:cubicBezTo>
                  <a:pt x="3726" y="6892"/>
                  <a:pt x="3726" y="6892"/>
                  <a:pt x="3726" y="6892"/>
                </a:cubicBezTo>
                <a:cubicBezTo>
                  <a:pt x="3727" y="6876"/>
                  <a:pt x="3727" y="6876"/>
                  <a:pt x="3727" y="6876"/>
                </a:cubicBezTo>
                <a:cubicBezTo>
                  <a:pt x="3710" y="6871"/>
                  <a:pt x="3710" y="6871"/>
                  <a:pt x="3710" y="6871"/>
                </a:cubicBezTo>
                <a:lnTo>
                  <a:pt x="3703" y="6889"/>
                </a:lnTo>
                <a:close/>
                <a:moveTo>
                  <a:pt x="3756" y="6964"/>
                </a:moveTo>
                <a:cubicBezTo>
                  <a:pt x="3779" y="6985"/>
                  <a:pt x="3779" y="6985"/>
                  <a:pt x="3779" y="6985"/>
                </a:cubicBezTo>
                <a:cubicBezTo>
                  <a:pt x="3786" y="6978"/>
                  <a:pt x="3786" y="6978"/>
                  <a:pt x="3786" y="6978"/>
                </a:cubicBezTo>
                <a:cubicBezTo>
                  <a:pt x="3766" y="6955"/>
                  <a:pt x="3766" y="6955"/>
                  <a:pt x="3766" y="6955"/>
                </a:cubicBezTo>
                <a:lnTo>
                  <a:pt x="3756" y="6964"/>
                </a:lnTo>
                <a:close/>
                <a:moveTo>
                  <a:pt x="3828" y="6972"/>
                </a:moveTo>
                <a:cubicBezTo>
                  <a:pt x="3815" y="6959"/>
                  <a:pt x="3815" y="6959"/>
                  <a:pt x="3815" y="6959"/>
                </a:cubicBezTo>
                <a:cubicBezTo>
                  <a:pt x="3811" y="6981"/>
                  <a:pt x="3811" y="6981"/>
                  <a:pt x="3811" y="6981"/>
                </a:cubicBezTo>
                <a:cubicBezTo>
                  <a:pt x="3796" y="6985"/>
                  <a:pt x="3796" y="6985"/>
                  <a:pt x="3796" y="6985"/>
                </a:cubicBezTo>
                <a:cubicBezTo>
                  <a:pt x="3825" y="6997"/>
                  <a:pt x="3825" y="6997"/>
                  <a:pt x="3825" y="6997"/>
                </a:cubicBezTo>
                <a:lnTo>
                  <a:pt x="3828" y="6972"/>
                </a:lnTo>
                <a:close/>
                <a:moveTo>
                  <a:pt x="3802" y="6957"/>
                </a:moveTo>
                <a:cubicBezTo>
                  <a:pt x="3795" y="6951"/>
                  <a:pt x="3795" y="6951"/>
                  <a:pt x="3795" y="6951"/>
                </a:cubicBezTo>
                <a:cubicBezTo>
                  <a:pt x="3789" y="6961"/>
                  <a:pt x="3789" y="6961"/>
                  <a:pt x="3789" y="6961"/>
                </a:cubicBezTo>
                <a:cubicBezTo>
                  <a:pt x="3796" y="6970"/>
                  <a:pt x="3796" y="6970"/>
                  <a:pt x="3796" y="6970"/>
                </a:cubicBezTo>
                <a:lnTo>
                  <a:pt x="3802" y="6957"/>
                </a:lnTo>
                <a:close/>
                <a:moveTo>
                  <a:pt x="9720" y="140"/>
                </a:moveTo>
                <a:cubicBezTo>
                  <a:pt x="9720" y="148"/>
                  <a:pt x="9786" y="154"/>
                  <a:pt x="9786" y="154"/>
                </a:cubicBezTo>
                <a:cubicBezTo>
                  <a:pt x="9820" y="150"/>
                  <a:pt x="9820" y="150"/>
                  <a:pt x="9820" y="150"/>
                </a:cubicBezTo>
                <a:cubicBezTo>
                  <a:pt x="9858" y="164"/>
                  <a:pt x="9858" y="164"/>
                  <a:pt x="9858" y="164"/>
                </a:cubicBezTo>
                <a:cubicBezTo>
                  <a:pt x="9900" y="162"/>
                  <a:pt x="9900" y="162"/>
                  <a:pt x="9900" y="162"/>
                </a:cubicBezTo>
                <a:cubicBezTo>
                  <a:pt x="9894" y="144"/>
                  <a:pt x="9876" y="118"/>
                  <a:pt x="9858" y="120"/>
                </a:cubicBezTo>
                <a:cubicBezTo>
                  <a:pt x="9840" y="122"/>
                  <a:pt x="9822" y="134"/>
                  <a:pt x="9822" y="134"/>
                </a:cubicBezTo>
                <a:cubicBezTo>
                  <a:pt x="9808" y="118"/>
                  <a:pt x="9808" y="118"/>
                  <a:pt x="9808" y="118"/>
                </a:cubicBezTo>
                <a:cubicBezTo>
                  <a:pt x="9808" y="118"/>
                  <a:pt x="9720" y="132"/>
                  <a:pt x="9720" y="140"/>
                </a:cubicBezTo>
                <a:close/>
                <a:moveTo>
                  <a:pt x="9682" y="142"/>
                </a:moveTo>
                <a:cubicBezTo>
                  <a:pt x="9692" y="132"/>
                  <a:pt x="9692" y="132"/>
                  <a:pt x="9692" y="132"/>
                </a:cubicBezTo>
                <a:cubicBezTo>
                  <a:pt x="9632" y="132"/>
                  <a:pt x="9632" y="132"/>
                  <a:pt x="9632" y="132"/>
                </a:cubicBezTo>
                <a:lnTo>
                  <a:pt x="9682" y="142"/>
                </a:lnTo>
                <a:close/>
                <a:moveTo>
                  <a:pt x="9658" y="124"/>
                </a:moveTo>
                <a:cubicBezTo>
                  <a:pt x="9658" y="124"/>
                  <a:pt x="9714" y="128"/>
                  <a:pt x="9726" y="124"/>
                </a:cubicBezTo>
                <a:cubicBezTo>
                  <a:pt x="9738" y="120"/>
                  <a:pt x="9780" y="124"/>
                  <a:pt x="9772" y="108"/>
                </a:cubicBezTo>
                <a:cubicBezTo>
                  <a:pt x="9764" y="92"/>
                  <a:pt x="9690" y="70"/>
                  <a:pt x="9690" y="70"/>
                </a:cubicBezTo>
                <a:cubicBezTo>
                  <a:pt x="9690" y="70"/>
                  <a:pt x="9634" y="60"/>
                  <a:pt x="9632" y="80"/>
                </a:cubicBezTo>
                <a:cubicBezTo>
                  <a:pt x="9630" y="100"/>
                  <a:pt x="9658" y="124"/>
                  <a:pt x="9658" y="124"/>
                </a:cubicBezTo>
                <a:close/>
                <a:moveTo>
                  <a:pt x="10000" y="192"/>
                </a:moveTo>
                <a:cubicBezTo>
                  <a:pt x="10106" y="186"/>
                  <a:pt x="10106" y="186"/>
                  <a:pt x="10106" y="186"/>
                </a:cubicBezTo>
                <a:cubicBezTo>
                  <a:pt x="10078" y="170"/>
                  <a:pt x="10078" y="170"/>
                  <a:pt x="10078" y="170"/>
                </a:cubicBezTo>
                <a:cubicBezTo>
                  <a:pt x="10078" y="170"/>
                  <a:pt x="10040" y="150"/>
                  <a:pt x="10030" y="150"/>
                </a:cubicBezTo>
                <a:cubicBezTo>
                  <a:pt x="10020" y="150"/>
                  <a:pt x="10002" y="162"/>
                  <a:pt x="10002" y="162"/>
                </a:cubicBezTo>
                <a:cubicBezTo>
                  <a:pt x="10002" y="162"/>
                  <a:pt x="9996" y="134"/>
                  <a:pt x="9974" y="134"/>
                </a:cubicBezTo>
                <a:cubicBezTo>
                  <a:pt x="9952" y="134"/>
                  <a:pt x="9940" y="200"/>
                  <a:pt x="9940" y="200"/>
                </a:cubicBezTo>
                <a:cubicBezTo>
                  <a:pt x="9956" y="208"/>
                  <a:pt x="9956" y="208"/>
                  <a:pt x="9956" y="208"/>
                </a:cubicBezTo>
                <a:cubicBezTo>
                  <a:pt x="9974" y="204"/>
                  <a:pt x="10000" y="192"/>
                  <a:pt x="10000" y="192"/>
                </a:cubicBezTo>
                <a:close/>
                <a:moveTo>
                  <a:pt x="11360" y="338"/>
                </a:moveTo>
                <a:cubicBezTo>
                  <a:pt x="11370" y="320"/>
                  <a:pt x="11370" y="320"/>
                  <a:pt x="11370" y="320"/>
                </a:cubicBezTo>
                <a:cubicBezTo>
                  <a:pt x="11370" y="320"/>
                  <a:pt x="11396" y="320"/>
                  <a:pt x="11406" y="320"/>
                </a:cubicBezTo>
                <a:cubicBezTo>
                  <a:pt x="11416" y="320"/>
                  <a:pt x="11446" y="318"/>
                  <a:pt x="11446" y="318"/>
                </a:cubicBezTo>
                <a:cubicBezTo>
                  <a:pt x="11404" y="298"/>
                  <a:pt x="11404" y="298"/>
                  <a:pt x="11404" y="298"/>
                </a:cubicBezTo>
                <a:cubicBezTo>
                  <a:pt x="11412" y="284"/>
                  <a:pt x="11412" y="284"/>
                  <a:pt x="11412" y="284"/>
                </a:cubicBezTo>
                <a:cubicBezTo>
                  <a:pt x="11352" y="272"/>
                  <a:pt x="11352" y="272"/>
                  <a:pt x="11352" y="272"/>
                </a:cubicBezTo>
                <a:cubicBezTo>
                  <a:pt x="11362" y="290"/>
                  <a:pt x="11362" y="290"/>
                  <a:pt x="11362" y="290"/>
                </a:cubicBezTo>
                <a:cubicBezTo>
                  <a:pt x="11362" y="290"/>
                  <a:pt x="11240" y="250"/>
                  <a:pt x="11242" y="280"/>
                </a:cubicBezTo>
                <a:cubicBezTo>
                  <a:pt x="11244" y="310"/>
                  <a:pt x="11360" y="338"/>
                  <a:pt x="11360" y="338"/>
                </a:cubicBezTo>
                <a:close/>
                <a:moveTo>
                  <a:pt x="11226" y="294"/>
                </a:moveTo>
                <a:cubicBezTo>
                  <a:pt x="11190" y="282"/>
                  <a:pt x="11190" y="282"/>
                  <a:pt x="11190" y="282"/>
                </a:cubicBezTo>
                <a:cubicBezTo>
                  <a:pt x="11206" y="304"/>
                  <a:pt x="11206" y="304"/>
                  <a:pt x="11206" y="304"/>
                </a:cubicBezTo>
                <a:lnTo>
                  <a:pt x="11226" y="294"/>
                </a:lnTo>
                <a:close/>
                <a:moveTo>
                  <a:pt x="10490" y="348"/>
                </a:moveTo>
                <a:cubicBezTo>
                  <a:pt x="10522" y="354"/>
                  <a:pt x="10522" y="354"/>
                  <a:pt x="10522" y="354"/>
                </a:cubicBezTo>
                <a:cubicBezTo>
                  <a:pt x="10542" y="356"/>
                  <a:pt x="10562" y="344"/>
                  <a:pt x="10532" y="338"/>
                </a:cubicBezTo>
                <a:cubicBezTo>
                  <a:pt x="10502" y="332"/>
                  <a:pt x="10490" y="348"/>
                  <a:pt x="10490" y="348"/>
                </a:cubicBezTo>
                <a:close/>
                <a:moveTo>
                  <a:pt x="9502" y="405"/>
                </a:moveTo>
                <a:cubicBezTo>
                  <a:pt x="9477" y="388"/>
                  <a:pt x="9484" y="411"/>
                  <a:pt x="9484" y="411"/>
                </a:cubicBezTo>
                <a:cubicBezTo>
                  <a:pt x="9509" y="421"/>
                  <a:pt x="9527" y="422"/>
                  <a:pt x="9502" y="405"/>
                </a:cubicBezTo>
                <a:close/>
                <a:moveTo>
                  <a:pt x="8214" y="2309"/>
                </a:moveTo>
                <a:cubicBezTo>
                  <a:pt x="8215" y="2323"/>
                  <a:pt x="8242" y="2338"/>
                  <a:pt x="8249" y="2335"/>
                </a:cubicBezTo>
                <a:cubicBezTo>
                  <a:pt x="8256" y="2332"/>
                  <a:pt x="8274" y="2316"/>
                  <a:pt x="8274" y="2316"/>
                </a:cubicBezTo>
                <a:cubicBezTo>
                  <a:pt x="8274" y="2316"/>
                  <a:pt x="8290" y="2323"/>
                  <a:pt x="8293" y="2317"/>
                </a:cubicBezTo>
                <a:cubicBezTo>
                  <a:pt x="8297" y="2311"/>
                  <a:pt x="8290" y="2302"/>
                  <a:pt x="8290" y="2302"/>
                </a:cubicBezTo>
                <a:cubicBezTo>
                  <a:pt x="8311" y="2278"/>
                  <a:pt x="8311" y="2278"/>
                  <a:pt x="8311" y="2278"/>
                </a:cubicBezTo>
                <a:cubicBezTo>
                  <a:pt x="8284" y="2295"/>
                  <a:pt x="8284" y="2295"/>
                  <a:pt x="8284" y="2295"/>
                </a:cubicBezTo>
                <a:cubicBezTo>
                  <a:pt x="8284" y="2295"/>
                  <a:pt x="8260" y="2291"/>
                  <a:pt x="8251" y="2293"/>
                </a:cubicBezTo>
                <a:cubicBezTo>
                  <a:pt x="8242" y="2295"/>
                  <a:pt x="8245" y="2304"/>
                  <a:pt x="8245" y="2304"/>
                </a:cubicBezTo>
                <a:cubicBezTo>
                  <a:pt x="8245" y="2304"/>
                  <a:pt x="8213" y="2298"/>
                  <a:pt x="8214" y="2309"/>
                </a:cubicBezTo>
                <a:close/>
                <a:moveTo>
                  <a:pt x="7882" y="2054"/>
                </a:moveTo>
                <a:cubicBezTo>
                  <a:pt x="7896" y="2053"/>
                  <a:pt x="7896" y="2053"/>
                  <a:pt x="7896" y="2053"/>
                </a:cubicBezTo>
                <a:cubicBezTo>
                  <a:pt x="7899" y="2044"/>
                  <a:pt x="7899" y="2044"/>
                  <a:pt x="7899" y="2044"/>
                </a:cubicBezTo>
                <a:cubicBezTo>
                  <a:pt x="7879" y="2044"/>
                  <a:pt x="7879" y="2044"/>
                  <a:pt x="7879" y="2044"/>
                </a:cubicBezTo>
                <a:lnTo>
                  <a:pt x="7882" y="2054"/>
                </a:lnTo>
                <a:close/>
                <a:moveTo>
                  <a:pt x="7906" y="2035"/>
                </a:moveTo>
                <a:cubicBezTo>
                  <a:pt x="7909" y="2044"/>
                  <a:pt x="7919" y="2050"/>
                  <a:pt x="7918" y="2034"/>
                </a:cubicBezTo>
                <a:cubicBezTo>
                  <a:pt x="7917" y="2018"/>
                  <a:pt x="7906" y="2035"/>
                  <a:pt x="7906" y="2035"/>
                </a:cubicBezTo>
                <a:close/>
                <a:moveTo>
                  <a:pt x="9198" y="400"/>
                </a:moveTo>
                <a:cubicBezTo>
                  <a:pt x="9231" y="392"/>
                  <a:pt x="9220" y="382"/>
                  <a:pt x="9212" y="378"/>
                </a:cubicBezTo>
                <a:cubicBezTo>
                  <a:pt x="9204" y="374"/>
                  <a:pt x="9174" y="378"/>
                  <a:pt x="9174" y="378"/>
                </a:cubicBezTo>
                <a:cubicBezTo>
                  <a:pt x="9174" y="378"/>
                  <a:pt x="9180" y="404"/>
                  <a:pt x="9198" y="400"/>
                </a:cubicBezTo>
                <a:close/>
                <a:moveTo>
                  <a:pt x="9474" y="423"/>
                </a:moveTo>
                <a:cubicBezTo>
                  <a:pt x="9453" y="418"/>
                  <a:pt x="9453" y="418"/>
                  <a:pt x="9453" y="418"/>
                </a:cubicBezTo>
                <a:cubicBezTo>
                  <a:pt x="9436" y="432"/>
                  <a:pt x="9436" y="432"/>
                  <a:pt x="9436" y="432"/>
                </a:cubicBezTo>
                <a:cubicBezTo>
                  <a:pt x="9462" y="439"/>
                  <a:pt x="9462" y="439"/>
                  <a:pt x="9462" y="439"/>
                </a:cubicBezTo>
                <a:lnTo>
                  <a:pt x="9474" y="423"/>
                </a:lnTo>
                <a:close/>
                <a:moveTo>
                  <a:pt x="7942" y="2021"/>
                </a:moveTo>
                <a:cubicBezTo>
                  <a:pt x="7924" y="2021"/>
                  <a:pt x="7924" y="2021"/>
                  <a:pt x="7924" y="2021"/>
                </a:cubicBezTo>
                <a:cubicBezTo>
                  <a:pt x="7924" y="2042"/>
                  <a:pt x="7924" y="2042"/>
                  <a:pt x="7924" y="2042"/>
                </a:cubicBezTo>
                <a:cubicBezTo>
                  <a:pt x="7931" y="2029"/>
                  <a:pt x="7931" y="2029"/>
                  <a:pt x="7931" y="2029"/>
                </a:cubicBezTo>
                <a:lnTo>
                  <a:pt x="7942" y="2021"/>
                </a:lnTo>
                <a:close/>
                <a:moveTo>
                  <a:pt x="11466" y="312"/>
                </a:moveTo>
                <a:cubicBezTo>
                  <a:pt x="11504" y="316"/>
                  <a:pt x="11504" y="316"/>
                  <a:pt x="11504" y="316"/>
                </a:cubicBezTo>
                <a:cubicBezTo>
                  <a:pt x="11514" y="306"/>
                  <a:pt x="11512" y="294"/>
                  <a:pt x="11494" y="294"/>
                </a:cubicBezTo>
                <a:cubicBezTo>
                  <a:pt x="11476" y="294"/>
                  <a:pt x="11416" y="280"/>
                  <a:pt x="11424" y="292"/>
                </a:cubicBezTo>
                <a:cubicBezTo>
                  <a:pt x="11432" y="304"/>
                  <a:pt x="11466" y="312"/>
                  <a:pt x="11466" y="312"/>
                </a:cubicBezTo>
                <a:close/>
                <a:moveTo>
                  <a:pt x="12678" y="554"/>
                </a:moveTo>
                <a:cubicBezTo>
                  <a:pt x="12686" y="544"/>
                  <a:pt x="12612" y="534"/>
                  <a:pt x="12612" y="534"/>
                </a:cubicBezTo>
                <a:cubicBezTo>
                  <a:pt x="12612" y="542"/>
                  <a:pt x="12670" y="564"/>
                  <a:pt x="12678" y="554"/>
                </a:cubicBezTo>
                <a:close/>
                <a:moveTo>
                  <a:pt x="11426" y="348"/>
                </a:moveTo>
                <a:cubicBezTo>
                  <a:pt x="11400" y="374"/>
                  <a:pt x="11456" y="372"/>
                  <a:pt x="11464" y="362"/>
                </a:cubicBezTo>
                <a:cubicBezTo>
                  <a:pt x="11472" y="352"/>
                  <a:pt x="11433" y="341"/>
                  <a:pt x="11426" y="348"/>
                </a:cubicBezTo>
                <a:close/>
                <a:moveTo>
                  <a:pt x="13194" y="1684"/>
                </a:moveTo>
                <a:cubicBezTo>
                  <a:pt x="13195" y="1663"/>
                  <a:pt x="13195" y="1663"/>
                  <a:pt x="13195" y="1663"/>
                </a:cubicBezTo>
                <a:cubicBezTo>
                  <a:pt x="13186" y="1680"/>
                  <a:pt x="13186" y="1680"/>
                  <a:pt x="13186" y="1680"/>
                </a:cubicBezTo>
                <a:lnTo>
                  <a:pt x="13194" y="1684"/>
                </a:lnTo>
                <a:close/>
                <a:moveTo>
                  <a:pt x="13193" y="1621"/>
                </a:moveTo>
                <a:cubicBezTo>
                  <a:pt x="13205" y="1619"/>
                  <a:pt x="13205" y="1619"/>
                  <a:pt x="13205" y="1619"/>
                </a:cubicBezTo>
                <a:cubicBezTo>
                  <a:pt x="13193" y="1607"/>
                  <a:pt x="13193" y="1607"/>
                  <a:pt x="13193" y="1607"/>
                </a:cubicBezTo>
                <a:lnTo>
                  <a:pt x="13193" y="1621"/>
                </a:lnTo>
                <a:close/>
                <a:moveTo>
                  <a:pt x="11925" y="3120"/>
                </a:moveTo>
                <a:cubicBezTo>
                  <a:pt x="11911" y="3110"/>
                  <a:pt x="11863" y="3116"/>
                  <a:pt x="11863" y="3116"/>
                </a:cubicBezTo>
                <a:cubicBezTo>
                  <a:pt x="11859" y="3128"/>
                  <a:pt x="11859" y="3128"/>
                  <a:pt x="11859" y="3128"/>
                </a:cubicBezTo>
                <a:cubicBezTo>
                  <a:pt x="11848" y="3122"/>
                  <a:pt x="11848" y="3122"/>
                  <a:pt x="11848" y="3122"/>
                </a:cubicBezTo>
                <a:cubicBezTo>
                  <a:pt x="11842" y="3139"/>
                  <a:pt x="11842" y="3139"/>
                  <a:pt x="11842" y="3139"/>
                </a:cubicBezTo>
                <a:cubicBezTo>
                  <a:pt x="11842" y="3139"/>
                  <a:pt x="11812" y="3162"/>
                  <a:pt x="11831" y="3186"/>
                </a:cubicBezTo>
                <a:cubicBezTo>
                  <a:pt x="11851" y="3209"/>
                  <a:pt x="11864" y="3209"/>
                  <a:pt x="11864" y="3209"/>
                </a:cubicBezTo>
                <a:cubicBezTo>
                  <a:pt x="11920" y="3208"/>
                  <a:pt x="11916" y="3191"/>
                  <a:pt x="11918" y="3184"/>
                </a:cubicBezTo>
                <a:cubicBezTo>
                  <a:pt x="11919" y="3178"/>
                  <a:pt x="11915" y="3163"/>
                  <a:pt x="11915" y="3163"/>
                </a:cubicBezTo>
                <a:cubicBezTo>
                  <a:pt x="11915" y="3163"/>
                  <a:pt x="11940" y="3131"/>
                  <a:pt x="11925" y="3120"/>
                </a:cubicBezTo>
                <a:close/>
                <a:moveTo>
                  <a:pt x="11975" y="3291"/>
                </a:moveTo>
                <a:cubicBezTo>
                  <a:pt x="11959" y="3291"/>
                  <a:pt x="11970" y="3309"/>
                  <a:pt x="11970" y="3309"/>
                </a:cubicBezTo>
                <a:cubicBezTo>
                  <a:pt x="11982" y="3309"/>
                  <a:pt x="11991" y="3291"/>
                  <a:pt x="11975" y="3291"/>
                </a:cubicBezTo>
                <a:close/>
                <a:moveTo>
                  <a:pt x="13029" y="2240"/>
                </a:moveTo>
                <a:cubicBezTo>
                  <a:pt x="13030" y="2226"/>
                  <a:pt x="13031" y="2200"/>
                  <a:pt x="13025" y="2188"/>
                </a:cubicBezTo>
                <a:cubicBezTo>
                  <a:pt x="13019" y="2176"/>
                  <a:pt x="12995" y="2159"/>
                  <a:pt x="12998" y="2142"/>
                </a:cubicBezTo>
                <a:cubicBezTo>
                  <a:pt x="13001" y="2125"/>
                  <a:pt x="13017" y="2130"/>
                  <a:pt x="13017" y="2130"/>
                </a:cubicBezTo>
                <a:cubicBezTo>
                  <a:pt x="13014" y="2103"/>
                  <a:pt x="13014" y="2103"/>
                  <a:pt x="13014" y="2103"/>
                </a:cubicBezTo>
                <a:cubicBezTo>
                  <a:pt x="13006" y="2097"/>
                  <a:pt x="13006" y="2097"/>
                  <a:pt x="13006" y="2097"/>
                </a:cubicBezTo>
                <a:cubicBezTo>
                  <a:pt x="13016" y="2090"/>
                  <a:pt x="13016" y="2090"/>
                  <a:pt x="13016" y="2090"/>
                </a:cubicBezTo>
                <a:cubicBezTo>
                  <a:pt x="13016" y="2090"/>
                  <a:pt x="13011" y="2072"/>
                  <a:pt x="13007" y="2062"/>
                </a:cubicBezTo>
                <a:cubicBezTo>
                  <a:pt x="13003" y="2052"/>
                  <a:pt x="12989" y="2044"/>
                  <a:pt x="12989" y="2044"/>
                </a:cubicBezTo>
                <a:cubicBezTo>
                  <a:pt x="12985" y="2031"/>
                  <a:pt x="12985" y="2031"/>
                  <a:pt x="12985" y="2031"/>
                </a:cubicBezTo>
                <a:cubicBezTo>
                  <a:pt x="12985" y="2031"/>
                  <a:pt x="12970" y="2024"/>
                  <a:pt x="12961" y="2017"/>
                </a:cubicBezTo>
                <a:cubicBezTo>
                  <a:pt x="12952" y="2010"/>
                  <a:pt x="12937" y="1994"/>
                  <a:pt x="12937" y="1985"/>
                </a:cubicBezTo>
                <a:cubicBezTo>
                  <a:pt x="12937" y="1976"/>
                  <a:pt x="12934" y="1972"/>
                  <a:pt x="12934" y="1972"/>
                </a:cubicBezTo>
                <a:cubicBezTo>
                  <a:pt x="12934" y="1972"/>
                  <a:pt x="12911" y="1955"/>
                  <a:pt x="12908" y="1967"/>
                </a:cubicBezTo>
                <a:cubicBezTo>
                  <a:pt x="12905" y="1979"/>
                  <a:pt x="12917" y="1982"/>
                  <a:pt x="12917" y="1982"/>
                </a:cubicBezTo>
                <a:cubicBezTo>
                  <a:pt x="12924" y="1978"/>
                  <a:pt x="12924" y="1978"/>
                  <a:pt x="12924" y="1978"/>
                </a:cubicBezTo>
                <a:cubicBezTo>
                  <a:pt x="12924" y="1978"/>
                  <a:pt x="12932" y="1997"/>
                  <a:pt x="12928" y="1997"/>
                </a:cubicBezTo>
                <a:cubicBezTo>
                  <a:pt x="12924" y="1997"/>
                  <a:pt x="12919" y="1990"/>
                  <a:pt x="12919" y="1990"/>
                </a:cubicBezTo>
                <a:cubicBezTo>
                  <a:pt x="12910" y="1999"/>
                  <a:pt x="12910" y="1999"/>
                  <a:pt x="12910" y="1999"/>
                </a:cubicBezTo>
                <a:cubicBezTo>
                  <a:pt x="12897" y="1978"/>
                  <a:pt x="12897" y="1978"/>
                  <a:pt x="12897" y="1978"/>
                </a:cubicBezTo>
                <a:cubicBezTo>
                  <a:pt x="12885" y="1978"/>
                  <a:pt x="12885" y="1978"/>
                  <a:pt x="12885" y="1978"/>
                </a:cubicBezTo>
                <a:cubicBezTo>
                  <a:pt x="12899" y="2002"/>
                  <a:pt x="12899" y="2002"/>
                  <a:pt x="12899" y="2002"/>
                </a:cubicBezTo>
                <a:cubicBezTo>
                  <a:pt x="12887" y="2005"/>
                  <a:pt x="12887" y="2005"/>
                  <a:pt x="12887" y="2005"/>
                </a:cubicBezTo>
                <a:cubicBezTo>
                  <a:pt x="12906" y="2037"/>
                  <a:pt x="12906" y="2037"/>
                  <a:pt x="12906" y="2037"/>
                </a:cubicBezTo>
                <a:cubicBezTo>
                  <a:pt x="12899" y="2045"/>
                  <a:pt x="12899" y="2045"/>
                  <a:pt x="12899" y="2045"/>
                </a:cubicBezTo>
                <a:cubicBezTo>
                  <a:pt x="12899" y="2045"/>
                  <a:pt x="12935" y="2063"/>
                  <a:pt x="12933" y="2078"/>
                </a:cubicBezTo>
                <a:cubicBezTo>
                  <a:pt x="12931" y="2093"/>
                  <a:pt x="12925" y="2114"/>
                  <a:pt x="12925" y="2114"/>
                </a:cubicBezTo>
                <a:cubicBezTo>
                  <a:pt x="12923" y="2132"/>
                  <a:pt x="12923" y="2132"/>
                  <a:pt x="12923" y="2132"/>
                </a:cubicBezTo>
                <a:cubicBezTo>
                  <a:pt x="12923" y="2132"/>
                  <a:pt x="12944" y="2145"/>
                  <a:pt x="12934" y="2152"/>
                </a:cubicBezTo>
                <a:cubicBezTo>
                  <a:pt x="12924" y="2159"/>
                  <a:pt x="12916" y="2155"/>
                  <a:pt x="12916" y="2155"/>
                </a:cubicBezTo>
                <a:cubicBezTo>
                  <a:pt x="12916" y="2155"/>
                  <a:pt x="12923" y="2185"/>
                  <a:pt x="12912" y="2191"/>
                </a:cubicBezTo>
                <a:cubicBezTo>
                  <a:pt x="12901" y="2197"/>
                  <a:pt x="12878" y="2205"/>
                  <a:pt x="12878" y="2205"/>
                </a:cubicBezTo>
                <a:cubicBezTo>
                  <a:pt x="12878" y="2214"/>
                  <a:pt x="12878" y="2214"/>
                  <a:pt x="12878" y="2214"/>
                </a:cubicBezTo>
                <a:cubicBezTo>
                  <a:pt x="12878" y="2214"/>
                  <a:pt x="12867" y="2218"/>
                  <a:pt x="12858" y="2208"/>
                </a:cubicBezTo>
                <a:cubicBezTo>
                  <a:pt x="12849" y="2198"/>
                  <a:pt x="12852" y="2189"/>
                  <a:pt x="12852" y="2189"/>
                </a:cubicBezTo>
                <a:cubicBezTo>
                  <a:pt x="12855" y="2176"/>
                  <a:pt x="12855" y="2176"/>
                  <a:pt x="12855" y="2176"/>
                </a:cubicBezTo>
                <a:cubicBezTo>
                  <a:pt x="12855" y="2176"/>
                  <a:pt x="12829" y="2181"/>
                  <a:pt x="12833" y="2191"/>
                </a:cubicBezTo>
                <a:cubicBezTo>
                  <a:pt x="12837" y="2201"/>
                  <a:pt x="12850" y="2215"/>
                  <a:pt x="12848" y="2222"/>
                </a:cubicBezTo>
                <a:cubicBezTo>
                  <a:pt x="12846" y="2229"/>
                  <a:pt x="12832" y="2245"/>
                  <a:pt x="12836" y="2255"/>
                </a:cubicBezTo>
                <a:cubicBezTo>
                  <a:pt x="12840" y="2265"/>
                  <a:pt x="12853" y="2280"/>
                  <a:pt x="12843" y="2281"/>
                </a:cubicBezTo>
                <a:cubicBezTo>
                  <a:pt x="12833" y="2282"/>
                  <a:pt x="12807" y="2270"/>
                  <a:pt x="12798" y="2271"/>
                </a:cubicBezTo>
                <a:cubicBezTo>
                  <a:pt x="12789" y="2272"/>
                  <a:pt x="12750" y="2287"/>
                  <a:pt x="12747" y="2287"/>
                </a:cubicBezTo>
                <a:cubicBezTo>
                  <a:pt x="12744" y="2287"/>
                  <a:pt x="12728" y="2287"/>
                  <a:pt x="12728" y="2287"/>
                </a:cubicBezTo>
                <a:cubicBezTo>
                  <a:pt x="12720" y="2279"/>
                  <a:pt x="12720" y="2279"/>
                  <a:pt x="12720" y="2279"/>
                </a:cubicBezTo>
                <a:cubicBezTo>
                  <a:pt x="12698" y="2296"/>
                  <a:pt x="12698" y="2296"/>
                  <a:pt x="12698" y="2296"/>
                </a:cubicBezTo>
                <a:cubicBezTo>
                  <a:pt x="12698" y="2296"/>
                  <a:pt x="12671" y="2341"/>
                  <a:pt x="12667" y="2341"/>
                </a:cubicBezTo>
                <a:cubicBezTo>
                  <a:pt x="12663" y="2341"/>
                  <a:pt x="12648" y="2342"/>
                  <a:pt x="12648" y="2342"/>
                </a:cubicBezTo>
                <a:cubicBezTo>
                  <a:pt x="12648" y="2342"/>
                  <a:pt x="12653" y="2366"/>
                  <a:pt x="12660" y="2366"/>
                </a:cubicBezTo>
                <a:cubicBezTo>
                  <a:pt x="12667" y="2366"/>
                  <a:pt x="12679" y="2362"/>
                  <a:pt x="12679" y="2362"/>
                </a:cubicBezTo>
                <a:cubicBezTo>
                  <a:pt x="12679" y="2362"/>
                  <a:pt x="12698" y="2373"/>
                  <a:pt x="12703" y="2371"/>
                </a:cubicBezTo>
                <a:cubicBezTo>
                  <a:pt x="12708" y="2369"/>
                  <a:pt x="12710" y="2348"/>
                  <a:pt x="12710" y="2348"/>
                </a:cubicBezTo>
                <a:cubicBezTo>
                  <a:pt x="12725" y="2356"/>
                  <a:pt x="12725" y="2356"/>
                  <a:pt x="12725" y="2356"/>
                </a:cubicBezTo>
                <a:cubicBezTo>
                  <a:pt x="12725" y="2356"/>
                  <a:pt x="12759" y="2339"/>
                  <a:pt x="12764" y="2336"/>
                </a:cubicBezTo>
                <a:cubicBezTo>
                  <a:pt x="12769" y="2333"/>
                  <a:pt x="12782" y="2342"/>
                  <a:pt x="12790" y="2341"/>
                </a:cubicBezTo>
                <a:cubicBezTo>
                  <a:pt x="12798" y="2340"/>
                  <a:pt x="12783" y="2325"/>
                  <a:pt x="12800" y="2325"/>
                </a:cubicBezTo>
                <a:cubicBezTo>
                  <a:pt x="12817" y="2325"/>
                  <a:pt x="12821" y="2334"/>
                  <a:pt x="12821" y="2334"/>
                </a:cubicBezTo>
                <a:cubicBezTo>
                  <a:pt x="12821" y="2334"/>
                  <a:pt x="12841" y="2321"/>
                  <a:pt x="12845" y="2329"/>
                </a:cubicBezTo>
                <a:cubicBezTo>
                  <a:pt x="12849" y="2337"/>
                  <a:pt x="12836" y="2356"/>
                  <a:pt x="12836" y="2356"/>
                </a:cubicBezTo>
                <a:cubicBezTo>
                  <a:pt x="12836" y="2356"/>
                  <a:pt x="12856" y="2395"/>
                  <a:pt x="12876" y="2395"/>
                </a:cubicBezTo>
                <a:cubicBezTo>
                  <a:pt x="12896" y="2395"/>
                  <a:pt x="12894" y="2357"/>
                  <a:pt x="12894" y="2357"/>
                </a:cubicBezTo>
                <a:cubicBezTo>
                  <a:pt x="12916" y="2353"/>
                  <a:pt x="12916" y="2353"/>
                  <a:pt x="12916" y="2353"/>
                </a:cubicBezTo>
                <a:cubicBezTo>
                  <a:pt x="12916" y="2353"/>
                  <a:pt x="12899" y="2333"/>
                  <a:pt x="12896" y="2332"/>
                </a:cubicBezTo>
                <a:cubicBezTo>
                  <a:pt x="12893" y="2331"/>
                  <a:pt x="12884" y="2324"/>
                  <a:pt x="12884" y="2324"/>
                </a:cubicBezTo>
                <a:cubicBezTo>
                  <a:pt x="12895" y="2309"/>
                  <a:pt x="12895" y="2309"/>
                  <a:pt x="12895" y="2309"/>
                </a:cubicBezTo>
                <a:cubicBezTo>
                  <a:pt x="12904" y="2308"/>
                  <a:pt x="12898" y="2322"/>
                  <a:pt x="12908" y="2322"/>
                </a:cubicBezTo>
                <a:cubicBezTo>
                  <a:pt x="12918" y="2322"/>
                  <a:pt x="12921" y="2335"/>
                  <a:pt x="12921" y="2335"/>
                </a:cubicBezTo>
                <a:cubicBezTo>
                  <a:pt x="12933" y="2326"/>
                  <a:pt x="12933" y="2326"/>
                  <a:pt x="12933" y="2326"/>
                </a:cubicBezTo>
                <a:cubicBezTo>
                  <a:pt x="12933" y="2326"/>
                  <a:pt x="12948" y="2334"/>
                  <a:pt x="12963" y="2330"/>
                </a:cubicBezTo>
                <a:cubicBezTo>
                  <a:pt x="12978" y="2326"/>
                  <a:pt x="12960" y="2305"/>
                  <a:pt x="12977" y="2307"/>
                </a:cubicBezTo>
                <a:cubicBezTo>
                  <a:pt x="12994" y="2309"/>
                  <a:pt x="12985" y="2337"/>
                  <a:pt x="12996" y="2331"/>
                </a:cubicBezTo>
                <a:cubicBezTo>
                  <a:pt x="13007" y="2325"/>
                  <a:pt x="12989" y="2302"/>
                  <a:pt x="12997" y="2297"/>
                </a:cubicBezTo>
                <a:cubicBezTo>
                  <a:pt x="13005" y="2292"/>
                  <a:pt x="13010" y="2294"/>
                  <a:pt x="13010" y="2294"/>
                </a:cubicBezTo>
                <a:cubicBezTo>
                  <a:pt x="13010" y="2294"/>
                  <a:pt x="13012" y="2263"/>
                  <a:pt x="13024" y="2275"/>
                </a:cubicBezTo>
                <a:cubicBezTo>
                  <a:pt x="13036" y="2287"/>
                  <a:pt x="13017" y="2312"/>
                  <a:pt x="13037" y="2311"/>
                </a:cubicBezTo>
                <a:cubicBezTo>
                  <a:pt x="13057" y="2310"/>
                  <a:pt x="13047" y="2279"/>
                  <a:pt x="13047" y="2279"/>
                </a:cubicBezTo>
                <a:cubicBezTo>
                  <a:pt x="13060" y="2272"/>
                  <a:pt x="13060" y="2272"/>
                  <a:pt x="13060" y="2272"/>
                </a:cubicBezTo>
                <a:cubicBezTo>
                  <a:pt x="13060" y="2272"/>
                  <a:pt x="13028" y="2254"/>
                  <a:pt x="13029" y="2240"/>
                </a:cubicBezTo>
                <a:close/>
                <a:moveTo>
                  <a:pt x="13208" y="1561"/>
                </a:moveTo>
                <a:cubicBezTo>
                  <a:pt x="13219" y="1547"/>
                  <a:pt x="13219" y="1547"/>
                  <a:pt x="13219" y="1547"/>
                </a:cubicBezTo>
                <a:cubicBezTo>
                  <a:pt x="13202" y="1533"/>
                  <a:pt x="13202" y="1533"/>
                  <a:pt x="13202" y="1533"/>
                </a:cubicBezTo>
                <a:lnTo>
                  <a:pt x="13208" y="1561"/>
                </a:lnTo>
                <a:close/>
                <a:moveTo>
                  <a:pt x="13141" y="1745"/>
                </a:moveTo>
                <a:cubicBezTo>
                  <a:pt x="13152" y="1749"/>
                  <a:pt x="13162" y="1723"/>
                  <a:pt x="13152" y="1720"/>
                </a:cubicBezTo>
                <a:cubicBezTo>
                  <a:pt x="13143" y="1718"/>
                  <a:pt x="13133" y="1742"/>
                  <a:pt x="13141" y="1745"/>
                </a:cubicBezTo>
                <a:close/>
                <a:moveTo>
                  <a:pt x="11702" y="332"/>
                </a:moveTo>
                <a:cubicBezTo>
                  <a:pt x="11730" y="318"/>
                  <a:pt x="11634" y="318"/>
                  <a:pt x="11634" y="318"/>
                </a:cubicBezTo>
                <a:cubicBezTo>
                  <a:pt x="11634" y="318"/>
                  <a:pt x="11614" y="300"/>
                  <a:pt x="11606" y="300"/>
                </a:cubicBezTo>
                <a:cubicBezTo>
                  <a:pt x="11598" y="300"/>
                  <a:pt x="11574" y="304"/>
                  <a:pt x="11574" y="304"/>
                </a:cubicBezTo>
                <a:cubicBezTo>
                  <a:pt x="11550" y="302"/>
                  <a:pt x="11550" y="302"/>
                  <a:pt x="11550" y="302"/>
                </a:cubicBezTo>
                <a:cubicBezTo>
                  <a:pt x="11574" y="318"/>
                  <a:pt x="11574" y="318"/>
                  <a:pt x="11574" y="318"/>
                </a:cubicBezTo>
                <a:cubicBezTo>
                  <a:pt x="11574" y="318"/>
                  <a:pt x="11674" y="346"/>
                  <a:pt x="11702" y="332"/>
                </a:cubicBezTo>
                <a:close/>
                <a:moveTo>
                  <a:pt x="7946" y="2117"/>
                </a:moveTo>
                <a:cubicBezTo>
                  <a:pt x="7942" y="2113"/>
                  <a:pt x="7940" y="2135"/>
                  <a:pt x="7946" y="2145"/>
                </a:cubicBezTo>
                <a:cubicBezTo>
                  <a:pt x="7951" y="2154"/>
                  <a:pt x="7958" y="2136"/>
                  <a:pt x="7960" y="2132"/>
                </a:cubicBezTo>
                <a:cubicBezTo>
                  <a:pt x="7962" y="2128"/>
                  <a:pt x="7950" y="2121"/>
                  <a:pt x="7946" y="2117"/>
                </a:cubicBezTo>
                <a:close/>
                <a:moveTo>
                  <a:pt x="11994" y="3265"/>
                </a:moveTo>
                <a:cubicBezTo>
                  <a:pt x="11987" y="3273"/>
                  <a:pt x="12006" y="3283"/>
                  <a:pt x="12006" y="3283"/>
                </a:cubicBezTo>
                <a:cubicBezTo>
                  <a:pt x="12017" y="3278"/>
                  <a:pt x="12017" y="3278"/>
                  <a:pt x="12017" y="3278"/>
                </a:cubicBezTo>
                <a:cubicBezTo>
                  <a:pt x="12017" y="3278"/>
                  <a:pt x="12000" y="3257"/>
                  <a:pt x="11994" y="3265"/>
                </a:cubicBezTo>
                <a:close/>
                <a:moveTo>
                  <a:pt x="11464" y="390"/>
                </a:moveTo>
                <a:cubicBezTo>
                  <a:pt x="11512" y="384"/>
                  <a:pt x="11512" y="384"/>
                  <a:pt x="11512" y="384"/>
                </a:cubicBezTo>
                <a:cubicBezTo>
                  <a:pt x="11584" y="394"/>
                  <a:pt x="11584" y="394"/>
                  <a:pt x="11584" y="394"/>
                </a:cubicBezTo>
                <a:cubicBezTo>
                  <a:pt x="11584" y="394"/>
                  <a:pt x="11562" y="370"/>
                  <a:pt x="11546" y="366"/>
                </a:cubicBezTo>
                <a:cubicBezTo>
                  <a:pt x="11530" y="362"/>
                  <a:pt x="11474" y="370"/>
                  <a:pt x="11474" y="370"/>
                </a:cubicBezTo>
                <a:lnTo>
                  <a:pt x="11464" y="390"/>
                </a:lnTo>
                <a:close/>
                <a:moveTo>
                  <a:pt x="13118" y="1086"/>
                </a:moveTo>
                <a:cubicBezTo>
                  <a:pt x="13138" y="1062"/>
                  <a:pt x="13138" y="1062"/>
                  <a:pt x="13138" y="1062"/>
                </a:cubicBezTo>
                <a:cubicBezTo>
                  <a:pt x="13130" y="1048"/>
                  <a:pt x="13130" y="1048"/>
                  <a:pt x="13130" y="1048"/>
                </a:cubicBezTo>
                <a:cubicBezTo>
                  <a:pt x="13106" y="1062"/>
                  <a:pt x="13106" y="1062"/>
                  <a:pt x="13106" y="1062"/>
                </a:cubicBezTo>
                <a:lnTo>
                  <a:pt x="13118" y="1086"/>
                </a:lnTo>
                <a:close/>
                <a:moveTo>
                  <a:pt x="12936" y="502"/>
                </a:moveTo>
                <a:cubicBezTo>
                  <a:pt x="12948" y="498"/>
                  <a:pt x="12966" y="496"/>
                  <a:pt x="12992" y="496"/>
                </a:cubicBezTo>
                <a:cubicBezTo>
                  <a:pt x="13018" y="496"/>
                  <a:pt x="13022" y="480"/>
                  <a:pt x="13004" y="478"/>
                </a:cubicBezTo>
                <a:cubicBezTo>
                  <a:pt x="12986" y="476"/>
                  <a:pt x="12954" y="464"/>
                  <a:pt x="12942" y="464"/>
                </a:cubicBezTo>
                <a:cubicBezTo>
                  <a:pt x="12930" y="464"/>
                  <a:pt x="12902" y="464"/>
                  <a:pt x="12902" y="486"/>
                </a:cubicBezTo>
                <a:cubicBezTo>
                  <a:pt x="12902" y="510"/>
                  <a:pt x="12924" y="506"/>
                  <a:pt x="12936" y="502"/>
                </a:cubicBezTo>
                <a:close/>
                <a:moveTo>
                  <a:pt x="13197" y="1517"/>
                </a:moveTo>
                <a:cubicBezTo>
                  <a:pt x="13213" y="1515"/>
                  <a:pt x="13213" y="1515"/>
                  <a:pt x="13213" y="1515"/>
                </a:cubicBezTo>
                <a:cubicBezTo>
                  <a:pt x="13222" y="1504"/>
                  <a:pt x="13222" y="1504"/>
                  <a:pt x="13222" y="1504"/>
                </a:cubicBezTo>
                <a:cubicBezTo>
                  <a:pt x="13213" y="1485"/>
                  <a:pt x="13213" y="1485"/>
                  <a:pt x="13213" y="1485"/>
                </a:cubicBezTo>
                <a:cubicBezTo>
                  <a:pt x="13223" y="1483"/>
                  <a:pt x="13223" y="1483"/>
                  <a:pt x="13223" y="1483"/>
                </a:cubicBezTo>
                <a:cubicBezTo>
                  <a:pt x="13213" y="1471"/>
                  <a:pt x="13213" y="1471"/>
                  <a:pt x="13213" y="1471"/>
                </a:cubicBezTo>
                <a:cubicBezTo>
                  <a:pt x="13201" y="1482"/>
                  <a:pt x="13201" y="1482"/>
                  <a:pt x="13201" y="1482"/>
                </a:cubicBezTo>
                <a:cubicBezTo>
                  <a:pt x="13209" y="1497"/>
                  <a:pt x="13209" y="1497"/>
                  <a:pt x="13209" y="1497"/>
                </a:cubicBezTo>
                <a:cubicBezTo>
                  <a:pt x="13197" y="1497"/>
                  <a:pt x="13197" y="1497"/>
                  <a:pt x="13197" y="1497"/>
                </a:cubicBezTo>
                <a:lnTo>
                  <a:pt x="13197" y="1517"/>
                </a:lnTo>
                <a:close/>
                <a:moveTo>
                  <a:pt x="12365" y="2831"/>
                </a:moveTo>
                <a:cubicBezTo>
                  <a:pt x="12348" y="2851"/>
                  <a:pt x="12348" y="2851"/>
                  <a:pt x="12348" y="2851"/>
                </a:cubicBezTo>
                <a:cubicBezTo>
                  <a:pt x="12348" y="2851"/>
                  <a:pt x="12309" y="2933"/>
                  <a:pt x="12317" y="2945"/>
                </a:cubicBezTo>
                <a:cubicBezTo>
                  <a:pt x="12325" y="2957"/>
                  <a:pt x="12343" y="2978"/>
                  <a:pt x="12343" y="2978"/>
                </a:cubicBezTo>
                <a:cubicBezTo>
                  <a:pt x="12343" y="2978"/>
                  <a:pt x="12356" y="3012"/>
                  <a:pt x="12371" y="3012"/>
                </a:cubicBezTo>
                <a:cubicBezTo>
                  <a:pt x="12371" y="2979"/>
                  <a:pt x="12371" y="2979"/>
                  <a:pt x="12371" y="2979"/>
                </a:cubicBezTo>
                <a:cubicBezTo>
                  <a:pt x="12371" y="2979"/>
                  <a:pt x="12384" y="2970"/>
                  <a:pt x="12384" y="2949"/>
                </a:cubicBezTo>
                <a:cubicBezTo>
                  <a:pt x="12384" y="2928"/>
                  <a:pt x="12384" y="2899"/>
                  <a:pt x="12384" y="2899"/>
                </a:cubicBezTo>
                <a:cubicBezTo>
                  <a:pt x="12384" y="2899"/>
                  <a:pt x="12394" y="2886"/>
                  <a:pt x="12393" y="2874"/>
                </a:cubicBezTo>
                <a:cubicBezTo>
                  <a:pt x="12392" y="2862"/>
                  <a:pt x="12394" y="2848"/>
                  <a:pt x="12394" y="2848"/>
                </a:cubicBezTo>
                <a:lnTo>
                  <a:pt x="12365" y="2831"/>
                </a:lnTo>
                <a:close/>
                <a:moveTo>
                  <a:pt x="12652" y="2434"/>
                </a:moveTo>
                <a:cubicBezTo>
                  <a:pt x="12641" y="2459"/>
                  <a:pt x="12641" y="2459"/>
                  <a:pt x="12641" y="2459"/>
                </a:cubicBezTo>
                <a:cubicBezTo>
                  <a:pt x="12653" y="2456"/>
                  <a:pt x="12653" y="2456"/>
                  <a:pt x="12653" y="2456"/>
                </a:cubicBezTo>
                <a:lnTo>
                  <a:pt x="12652" y="2434"/>
                </a:lnTo>
                <a:close/>
                <a:moveTo>
                  <a:pt x="12783" y="2395"/>
                </a:moveTo>
                <a:cubicBezTo>
                  <a:pt x="12798" y="2385"/>
                  <a:pt x="12820" y="2413"/>
                  <a:pt x="12820" y="2413"/>
                </a:cubicBezTo>
                <a:cubicBezTo>
                  <a:pt x="12820" y="2413"/>
                  <a:pt x="12825" y="2391"/>
                  <a:pt x="12827" y="2379"/>
                </a:cubicBezTo>
                <a:cubicBezTo>
                  <a:pt x="12829" y="2367"/>
                  <a:pt x="12820" y="2356"/>
                  <a:pt x="12820" y="2356"/>
                </a:cubicBezTo>
                <a:cubicBezTo>
                  <a:pt x="12807" y="2359"/>
                  <a:pt x="12807" y="2359"/>
                  <a:pt x="12807" y="2359"/>
                </a:cubicBezTo>
                <a:cubicBezTo>
                  <a:pt x="12807" y="2359"/>
                  <a:pt x="12790" y="2346"/>
                  <a:pt x="12781" y="2347"/>
                </a:cubicBezTo>
                <a:cubicBezTo>
                  <a:pt x="12761" y="2349"/>
                  <a:pt x="12768" y="2369"/>
                  <a:pt x="12768" y="2369"/>
                </a:cubicBezTo>
                <a:cubicBezTo>
                  <a:pt x="12768" y="2369"/>
                  <a:pt x="12751" y="2363"/>
                  <a:pt x="12741" y="2365"/>
                </a:cubicBezTo>
                <a:cubicBezTo>
                  <a:pt x="12731" y="2367"/>
                  <a:pt x="12738" y="2389"/>
                  <a:pt x="12738" y="2389"/>
                </a:cubicBezTo>
                <a:cubicBezTo>
                  <a:pt x="12726" y="2400"/>
                  <a:pt x="12726" y="2400"/>
                  <a:pt x="12726" y="2400"/>
                </a:cubicBezTo>
                <a:cubicBezTo>
                  <a:pt x="12726" y="2400"/>
                  <a:pt x="12739" y="2408"/>
                  <a:pt x="12745" y="2415"/>
                </a:cubicBezTo>
                <a:cubicBezTo>
                  <a:pt x="12751" y="2422"/>
                  <a:pt x="12774" y="2436"/>
                  <a:pt x="12774" y="2436"/>
                </a:cubicBezTo>
                <a:cubicBezTo>
                  <a:pt x="12774" y="2436"/>
                  <a:pt x="12768" y="2405"/>
                  <a:pt x="12783" y="2395"/>
                </a:cubicBezTo>
                <a:close/>
                <a:moveTo>
                  <a:pt x="12683" y="2697"/>
                </a:moveTo>
                <a:cubicBezTo>
                  <a:pt x="12673" y="2693"/>
                  <a:pt x="12674" y="2702"/>
                  <a:pt x="12674" y="2702"/>
                </a:cubicBezTo>
                <a:cubicBezTo>
                  <a:pt x="12689" y="2709"/>
                  <a:pt x="12694" y="2701"/>
                  <a:pt x="12683" y="2697"/>
                </a:cubicBezTo>
                <a:close/>
                <a:moveTo>
                  <a:pt x="12694" y="2675"/>
                </a:moveTo>
                <a:cubicBezTo>
                  <a:pt x="12694" y="2675"/>
                  <a:pt x="12709" y="2674"/>
                  <a:pt x="12702" y="2663"/>
                </a:cubicBezTo>
                <a:cubicBezTo>
                  <a:pt x="12695" y="2653"/>
                  <a:pt x="12674" y="2665"/>
                  <a:pt x="12677" y="2674"/>
                </a:cubicBezTo>
                <a:cubicBezTo>
                  <a:pt x="12679" y="2683"/>
                  <a:pt x="12683" y="2683"/>
                  <a:pt x="12683" y="2683"/>
                </a:cubicBezTo>
                <a:cubicBezTo>
                  <a:pt x="12693" y="2685"/>
                  <a:pt x="12694" y="2675"/>
                  <a:pt x="12694" y="2675"/>
                </a:cubicBezTo>
                <a:close/>
                <a:moveTo>
                  <a:pt x="8814" y="1489"/>
                </a:moveTo>
                <a:cubicBezTo>
                  <a:pt x="8814" y="1489"/>
                  <a:pt x="8814" y="1489"/>
                  <a:pt x="8814" y="1489"/>
                </a:cubicBezTo>
                <a:cubicBezTo>
                  <a:pt x="8814" y="1489"/>
                  <a:pt x="8814" y="1488"/>
                  <a:pt x="8814" y="1488"/>
                </a:cubicBezTo>
                <a:cubicBezTo>
                  <a:pt x="8814" y="1489"/>
                  <a:pt x="8814" y="1489"/>
                  <a:pt x="8814" y="1489"/>
                </a:cubicBezTo>
                <a:close/>
                <a:moveTo>
                  <a:pt x="12699" y="2551"/>
                </a:moveTo>
                <a:cubicBezTo>
                  <a:pt x="12699" y="2555"/>
                  <a:pt x="12686" y="2561"/>
                  <a:pt x="12686" y="2561"/>
                </a:cubicBezTo>
                <a:cubicBezTo>
                  <a:pt x="12703" y="2570"/>
                  <a:pt x="12703" y="2570"/>
                  <a:pt x="12703" y="2570"/>
                </a:cubicBezTo>
                <a:cubicBezTo>
                  <a:pt x="12703" y="2570"/>
                  <a:pt x="12699" y="2547"/>
                  <a:pt x="12699" y="2551"/>
                </a:cubicBezTo>
                <a:close/>
                <a:moveTo>
                  <a:pt x="12721" y="2533"/>
                </a:moveTo>
                <a:cubicBezTo>
                  <a:pt x="12721" y="2537"/>
                  <a:pt x="12717" y="2546"/>
                  <a:pt x="12717" y="2546"/>
                </a:cubicBezTo>
                <a:cubicBezTo>
                  <a:pt x="12726" y="2566"/>
                  <a:pt x="12726" y="2566"/>
                  <a:pt x="12726" y="2566"/>
                </a:cubicBezTo>
                <a:cubicBezTo>
                  <a:pt x="12727" y="2555"/>
                  <a:pt x="12727" y="2555"/>
                  <a:pt x="12727" y="2555"/>
                </a:cubicBezTo>
                <a:cubicBezTo>
                  <a:pt x="12727" y="2555"/>
                  <a:pt x="12721" y="2529"/>
                  <a:pt x="12721" y="2533"/>
                </a:cubicBezTo>
                <a:close/>
                <a:moveTo>
                  <a:pt x="10617" y="3750"/>
                </a:moveTo>
                <a:cubicBezTo>
                  <a:pt x="10600" y="3754"/>
                  <a:pt x="10600" y="3754"/>
                  <a:pt x="10600" y="3754"/>
                </a:cubicBezTo>
                <a:cubicBezTo>
                  <a:pt x="10604" y="3733"/>
                  <a:pt x="10604" y="3733"/>
                  <a:pt x="10604" y="3733"/>
                </a:cubicBezTo>
                <a:cubicBezTo>
                  <a:pt x="10604" y="3733"/>
                  <a:pt x="10591" y="3718"/>
                  <a:pt x="10575" y="3697"/>
                </a:cubicBezTo>
                <a:cubicBezTo>
                  <a:pt x="10559" y="3675"/>
                  <a:pt x="10548" y="3668"/>
                  <a:pt x="10532" y="3677"/>
                </a:cubicBezTo>
                <a:cubicBezTo>
                  <a:pt x="10531" y="3700"/>
                  <a:pt x="10531" y="3700"/>
                  <a:pt x="10531" y="3700"/>
                </a:cubicBezTo>
                <a:cubicBezTo>
                  <a:pt x="10518" y="3700"/>
                  <a:pt x="10518" y="3700"/>
                  <a:pt x="10518" y="3700"/>
                </a:cubicBezTo>
                <a:cubicBezTo>
                  <a:pt x="10538" y="3727"/>
                  <a:pt x="10538" y="3727"/>
                  <a:pt x="10538" y="3727"/>
                </a:cubicBezTo>
                <a:cubicBezTo>
                  <a:pt x="10538" y="3727"/>
                  <a:pt x="10534" y="3759"/>
                  <a:pt x="10523" y="3767"/>
                </a:cubicBezTo>
                <a:cubicBezTo>
                  <a:pt x="10513" y="3774"/>
                  <a:pt x="10514" y="3828"/>
                  <a:pt x="10532" y="3862"/>
                </a:cubicBezTo>
                <a:cubicBezTo>
                  <a:pt x="10550" y="3896"/>
                  <a:pt x="10588" y="3872"/>
                  <a:pt x="10618" y="3858"/>
                </a:cubicBezTo>
                <a:cubicBezTo>
                  <a:pt x="10649" y="3844"/>
                  <a:pt x="10618" y="3788"/>
                  <a:pt x="10618" y="3788"/>
                </a:cubicBezTo>
                <a:lnTo>
                  <a:pt x="10617" y="3750"/>
                </a:lnTo>
                <a:close/>
                <a:moveTo>
                  <a:pt x="11119" y="3612"/>
                </a:moveTo>
                <a:cubicBezTo>
                  <a:pt x="11104" y="3612"/>
                  <a:pt x="11120" y="3644"/>
                  <a:pt x="11120" y="3644"/>
                </a:cubicBezTo>
                <a:cubicBezTo>
                  <a:pt x="11120" y="3644"/>
                  <a:pt x="11133" y="3612"/>
                  <a:pt x="11119" y="3612"/>
                </a:cubicBezTo>
                <a:close/>
                <a:moveTo>
                  <a:pt x="12017" y="3299"/>
                </a:moveTo>
                <a:cubicBezTo>
                  <a:pt x="12027" y="3305"/>
                  <a:pt x="12035" y="3294"/>
                  <a:pt x="12030" y="3289"/>
                </a:cubicBezTo>
                <a:cubicBezTo>
                  <a:pt x="12025" y="3283"/>
                  <a:pt x="12010" y="3295"/>
                  <a:pt x="12017" y="3299"/>
                </a:cubicBezTo>
                <a:close/>
                <a:moveTo>
                  <a:pt x="11183" y="3798"/>
                </a:moveTo>
                <a:cubicBezTo>
                  <a:pt x="11175" y="3799"/>
                  <a:pt x="11179" y="3833"/>
                  <a:pt x="11194" y="3833"/>
                </a:cubicBezTo>
                <a:cubicBezTo>
                  <a:pt x="11194" y="3833"/>
                  <a:pt x="11191" y="3797"/>
                  <a:pt x="11183" y="3798"/>
                </a:cubicBezTo>
                <a:close/>
                <a:moveTo>
                  <a:pt x="12264" y="1244"/>
                </a:moveTo>
                <a:cubicBezTo>
                  <a:pt x="12258" y="1252"/>
                  <a:pt x="12270" y="1280"/>
                  <a:pt x="12292" y="1282"/>
                </a:cubicBezTo>
                <a:cubicBezTo>
                  <a:pt x="12310" y="1284"/>
                  <a:pt x="12270" y="1236"/>
                  <a:pt x="12264" y="1244"/>
                </a:cubicBezTo>
                <a:close/>
                <a:moveTo>
                  <a:pt x="11128" y="3451"/>
                </a:moveTo>
                <a:cubicBezTo>
                  <a:pt x="11108" y="3453"/>
                  <a:pt x="11112" y="3514"/>
                  <a:pt x="11112" y="3514"/>
                </a:cubicBezTo>
                <a:cubicBezTo>
                  <a:pt x="11115" y="3580"/>
                  <a:pt x="11115" y="3580"/>
                  <a:pt x="11115" y="3580"/>
                </a:cubicBezTo>
                <a:cubicBezTo>
                  <a:pt x="11126" y="3560"/>
                  <a:pt x="11126" y="3560"/>
                  <a:pt x="11126" y="3560"/>
                </a:cubicBezTo>
                <a:cubicBezTo>
                  <a:pt x="11126" y="3492"/>
                  <a:pt x="11126" y="3492"/>
                  <a:pt x="11126" y="3492"/>
                </a:cubicBezTo>
                <a:cubicBezTo>
                  <a:pt x="11126" y="3492"/>
                  <a:pt x="11144" y="3449"/>
                  <a:pt x="11128" y="3451"/>
                </a:cubicBezTo>
                <a:close/>
                <a:moveTo>
                  <a:pt x="13079" y="1781"/>
                </a:moveTo>
                <a:cubicBezTo>
                  <a:pt x="13112" y="1763"/>
                  <a:pt x="13112" y="1763"/>
                  <a:pt x="13112" y="1763"/>
                </a:cubicBezTo>
                <a:cubicBezTo>
                  <a:pt x="13103" y="1747"/>
                  <a:pt x="13103" y="1747"/>
                  <a:pt x="13103" y="1747"/>
                </a:cubicBezTo>
                <a:cubicBezTo>
                  <a:pt x="13100" y="1760"/>
                  <a:pt x="13100" y="1760"/>
                  <a:pt x="13100" y="1760"/>
                </a:cubicBezTo>
                <a:cubicBezTo>
                  <a:pt x="13073" y="1756"/>
                  <a:pt x="13073" y="1756"/>
                  <a:pt x="13073" y="1756"/>
                </a:cubicBezTo>
                <a:cubicBezTo>
                  <a:pt x="13060" y="1803"/>
                  <a:pt x="13060" y="1803"/>
                  <a:pt x="13060" y="1803"/>
                </a:cubicBezTo>
                <a:cubicBezTo>
                  <a:pt x="13067" y="1805"/>
                  <a:pt x="13067" y="1805"/>
                  <a:pt x="13067" y="1805"/>
                </a:cubicBezTo>
                <a:lnTo>
                  <a:pt x="13079" y="1781"/>
                </a:lnTo>
                <a:close/>
                <a:moveTo>
                  <a:pt x="12541" y="1334"/>
                </a:moveTo>
                <a:cubicBezTo>
                  <a:pt x="12536" y="1336"/>
                  <a:pt x="12523" y="1321"/>
                  <a:pt x="12521" y="1336"/>
                </a:cubicBezTo>
                <a:cubicBezTo>
                  <a:pt x="12518" y="1352"/>
                  <a:pt x="12547" y="1381"/>
                  <a:pt x="12547" y="1381"/>
                </a:cubicBezTo>
                <a:cubicBezTo>
                  <a:pt x="12547" y="1381"/>
                  <a:pt x="12554" y="1399"/>
                  <a:pt x="12561" y="1406"/>
                </a:cubicBezTo>
                <a:cubicBezTo>
                  <a:pt x="12568" y="1413"/>
                  <a:pt x="12615" y="1443"/>
                  <a:pt x="12626" y="1457"/>
                </a:cubicBezTo>
                <a:cubicBezTo>
                  <a:pt x="12637" y="1471"/>
                  <a:pt x="12636" y="1493"/>
                  <a:pt x="12649" y="1504"/>
                </a:cubicBezTo>
                <a:cubicBezTo>
                  <a:pt x="12663" y="1515"/>
                  <a:pt x="12695" y="1571"/>
                  <a:pt x="12695" y="1571"/>
                </a:cubicBezTo>
                <a:cubicBezTo>
                  <a:pt x="12695" y="1571"/>
                  <a:pt x="12701" y="1594"/>
                  <a:pt x="12708" y="1594"/>
                </a:cubicBezTo>
                <a:cubicBezTo>
                  <a:pt x="12715" y="1594"/>
                  <a:pt x="12728" y="1604"/>
                  <a:pt x="12735" y="1614"/>
                </a:cubicBezTo>
                <a:cubicBezTo>
                  <a:pt x="12742" y="1623"/>
                  <a:pt x="12742" y="1643"/>
                  <a:pt x="12742" y="1643"/>
                </a:cubicBezTo>
                <a:cubicBezTo>
                  <a:pt x="12770" y="1666"/>
                  <a:pt x="12770" y="1666"/>
                  <a:pt x="12770" y="1666"/>
                </a:cubicBezTo>
                <a:cubicBezTo>
                  <a:pt x="12780" y="1702"/>
                  <a:pt x="12780" y="1702"/>
                  <a:pt x="12780" y="1702"/>
                </a:cubicBezTo>
                <a:cubicBezTo>
                  <a:pt x="12806" y="1730"/>
                  <a:pt x="12806" y="1730"/>
                  <a:pt x="12806" y="1730"/>
                </a:cubicBezTo>
                <a:cubicBezTo>
                  <a:pt x="12806" y="1730"/>
                  <a:pt x="12792" y="1691"/>
                  <a:pt x="12801" y="1688"/>
                </a:cubicBezTo>
                <a:cubicBezTo>
                  <a:pt x="12809" y="1686"/>
                  <a:pt x="12813" y="1695"/>
                  <a:pt x="12813" y="1695"/>
                </a:cubicBezTo>
                <a:cubicBezTo>
                  <a:pt x="12834" y="1695"/>
                  <a:pt x="12834" y="1695"/>
                  <a:pt x="12834" y="1695"/>
                </a:cubicBezTo>
                <a:cubicBezTo>
                  <a:pt x="12856" y="1722"/>
                  <a:pt x="12856" y="1722"/>
                  <a:pt x="12856" y="1722"/>
                </a:cubicBezTo>
                <a:cubicBezTo>
                  <a:pt x="12857" y="1705"/>
                  <a:pt x="12857" y="1705"/>
                  <a:pt x="12857" y="1705"/>
                </a:cubicBezTo>
                <a:cubicBezTo>
                  <a:pt x="12837" y="1680"/>
                  <a:pt x="12837" y="1680"/>
                  <a:pt x="12837" y="1680"/>
                </a:cubicBezTo>
                <a:cubicBezTo>
                  <a:pt x="12821" y="1681"/>
                  <a:pt x="12821" y="1681"/>
                  <a:pt x="12821" y="1681"/>
                </a:cubicBezTo>
                <a:cubicBezTo>
                  <a:pt x="12799" y="1658"/>
                  <a:pt x="12799" y="1658"/>
                  <a:pt x="12799" y="1658"/>
                </a:cubicBezTo>
                <a:cubicBezTo>
                  <a:pt x="12799" y="1658"/>
                  <a:pt x="12777" y="1652"/>
                  <a:pt x="12764" y="1634"/>
                </a:cubicBezTo>
                <a:cubicBezTo>
                  <a:pt x="12752" y="1616"/>
                  <a:pt x="12744" y="1575"/>
                  <a:pt x="12744" y="1575"/>
                </a:cubicBezTo>
                <a:cubicBezTo>
                  <a:pt x="12744" y="1575"/>
                  <a:pt x="12720" y="1561"/>
                  <a:pt x="12733" y="1554"/>
                </a:cubicBezTo>
                <a:cubicBezTo>
                  <a:pt x="12745" y="1547"/>
                  <a:pt x="12821" y="1585"/>
                  <a:pt x="12821" y="1585"/>
                </a:cubicBezTo>
                <a:cubicBezTo>
                  <a:pt x="12771" y="1548"/>
                  <a:pt x="12771" y="1548"/>
                  <a:pt x="12771" y="1548"/>
                </a:cubicBezTo>
                <a:cubicBezTo>
                  <a:pt x="12771" y="1548"/>
                  <a:pt x="12752" y="1518"/>
                  <a:pt x="12742" y="1511"/>
                </a:cubicBezTo>
                <a:cubicBezTo>
                  <a:pt x="12733" y="1504"/>
                  <a:pt x="12717" y="1494"/>
                  <a:pt x="12717" y="1494"/>
                </a:cubicBezTo>
                <a:cubicBezTo>
                  <a:pt x="12665" y="1438"/>
                  <a:pt x="12665" y="1438"/>
                  <a:pt x="12665" y="1438"/>
                </a:cubicBezTo>
                <a:cubicBezTo>
                  <a:pt x="12648" y="1439"/>
                  <a:pt x="12648" y="1439"/>
                  <a:pt x="12648" y="1439"/>
                </a:cubicBezTo>
                <a:cubicBezTo>
                  <a:pt x="12641" y="1420"/>
                  <a:pt x="12641" y="1420"/>
                  <a:pt x="12641" y="1420"/>
                </a:cubicBezTo>
                <a:cubicBezTo>
                  <a:pt x="12641" y="1420"/>
                  <a:pt x="12631" y="1422"/>
                  <a:pt x="12619" y="1410"/>
                </a:cubicBezTo>
                <a:cubicBezTo>
                  <a:pt x="12607" y="1397"/>
                  <a:pt x="12611" y="1381"/>
                  <a:pt x="12611" y="1381"/>
                </a:cubicBezTo>
                <a:cubicBezTo>
                  <a:pt x="12591" y="1356"/>
                  <a:pt x="12591" y="1356"/>
                  <a:pt x="12591" y="1356"/>
                </a:cubicBezTo>
                <a:cubicBezTo>
                  <a:pt x="12577" y="1357"/>
                  <a:pt x="12577" y="1357"/>
                  <a:pt x="12577" y="1357"/>
                </a:cubicBezTo>
                <a:cubicBezTo>
                  <a:pt x="12568" y="1338"/>
                  <a:pt x="12568" y="1338"/>
                  <a:pt x="12568" y="1338"/>
                </a:cubicBezTo>
                <a:cubicBezTo>
                  <a:pt x="12541" y="1318"/>
                  <a:pt x="12541" y="1318"/>
                  <a:pt x="12541" y="1318"/>
                </a:cubicBezTo>
                <a:cubicBezTo>
                  <a:pt x="12533" y="1302"/>
                  <a:pt x="12533" y="1302"/>
                  <a:pt x="12533" y="1302"/>
                </a:cubicBezTo>
                <a:cubicBezTo>
                  <a:pt x="12533" y="1302"/>
                  <a:pt x="12515" y="1289"/>
                  <a:pt x="12508" y="1294"/>
                </a:cubicBezTo>
                <a:cubicBezTo>
                  <a:pt x="12501" y="1298"/>
                  <a:pt x="12547" y="1331"/>
                  <a:pt x="12541" y="1334"/>
                </a:cubicBezTo>
                <a:close/>
                <a:moveTo>
                  <a:pt x="12478" y="2891"/>
                </a:moveTo>
                <a:cubicBezTo>
                  <a:pt x="12490" y="2894"/>
                  <a:pt x="12501" y="2877"/>
                  <a:pt x="12485" y="2875"/>
                </a:cubicBezTo>
                <a:cubicBezTo>
                  <a:pt x="12469" y="2874"/>
                  <a:pt x="12478" y="2891"/>
                  <a:pt x="12478" y="2891"/>
                </a:cubicBezTo>
                <a:close/>
                <a:moveTo>
                  <a:pt x="12587" y="2774"/>
                </a:moveTo>
                <a:cubicBezTo>
                  <a:pt x="12587" y="2782"/>
                  <a:pt x="12598" y="2782"/>
                  <a:pt x="12598" y="2782"/>
                </a:cubicBezTo>
                <a:cubicBezTo>
                  <a:pt x="12605" y="2770"/>
                  <a:pt x="12587" y="2766"/>
                  <a:pt x="12587" y="2774"/>
                </a:cubicBezTo>
                <a:close/>
                <a:moveTo>
                  <a:pt x="12559" y="2866"/>
                </a:moveTo>
                <a:cubicBezTo>
                  <a:pt x="12565" y="2858"/>
                  <a:pt x="12550" y="2858"/>
                  <a:pt x="12550" y="2858"/>
                </a:cubicBezTo>
                <a:cubicBezTo>
                  <a:pt x="12541" y="2841"/>
                  <a:pt x="12541" y="2841"/>
                  <a:pt x="12541" y="2841"/>
                </a:cubicBezTo>
                <a:cubicBezTo>
                  <a:pt x="12541" y="2851"/>
                  <a:pt x="12541" y="2851"/>
                  <a:pt x="12541" y="2851"/>
                </a:cubicBezTo>
                <a:cubicBezTo>
                  <a:pt x="12539" y="2867"/>
                  <a:pt x="12554" y="2874"/>
                  <a:pt x="12559" y="2866"/>
                </a:cubicBezTo>
                <a:close/>
                <a:moveTo>
                  <a:pt x="12523" y="2879"/>
                </a:moveTo>
                <a:cubicBezTo>
                  <a:pt x="12505" y="2870"/>
                  <a:pt x="12505" y="2870"/>
                  <a:pt x="12505" y="2870"/>
                </a:cubicBezTo>
                <a:cubicBezTo>
                  <a:pt x="12505" y="2870"/>
                  <a:pt x="12497" y="2885"/>
                  <a:pt x="12501" y="2885"/>
                </a:cubicBezTo>
                <a:cubicBezTo>
                  <a:pt x="12505" y="2885"/>
                  <a:pt x="12523" y="2879"/>
                  <a:pt x="12523" y="2879"/>
                </a:cubicBezTo>
                <a:close/>
                <a:moveTo>
                  <a:pt x="12471" y="2390"/>
                </a:moveTo>
                <a:cubicBezTo>
                  <a:pt x="12447" y="2398"/>
                  <a:pt x="12457" y="2407"/>
                  <a:pt x="12472" y="2407"/>
                </a:cubicBezTo>
                <a:cubicBezTo>
                  <a:pt x="12491" y="2407"/>
                  <a:pt x="12495" y="2382"/>
                  <a:pt x="12471" y="2390"/>
                </a:cubicBezTo>
                <a:close/>
                <a:moveTo>
                  <a:pt x="11286" y="3255"/>
                </a:moveTo>
                <a:cubicBezTo>
                  <a:pt x="11294" y="3249"/>
                  <a:pt x="11309" y="3276"/>
                  <a:pt x="11309" y="3276"/>
                </a:cubicBezTo>
                <a:cubicBezTo>
                  <a:pt x="11308" y="3297"/>
                  <a:pt x="11308" y="3297"/>
                  <a:pt x="11308" y="3297"/>
                </a:cubicBezTo>
                <a:cubicBezTo>
                  <a:pt x="11308" y="3297"/>
                  <a:pt x="11329" y="3298"/>
                  <a:pt x="11330" y="3315"/>
                </a:cubicBezTo>
                <a:cubicBezTo>
                  <a:pt x="11330" y="3332"/>
                  <a:pt x="11337" y="3344"/>
                  <a:pt x="11339" y="3357"/>
                </a:cubicBezTo>
                <a:cubicBezTo>
                  <a:pt x="11341" y="3371"/>
                  <a:pt x="11344" y="3404"/>
                  <a:pt x="11344" y="3404"/>
                </a:cubicBezTo>
                <a:cubicBezTo>
                  <a:pt x="11344" y="3404"/>
                  <a:pt x="11345" y="3416"/>
                  <a:pt x="11352" y="3425"/>
                </a:cubicBezTo>
                <a:cubicBezTo>
                  <a:pt x="11360" y="3434"/>
                  <a:pt x="11363" y="3447"/>
                  <a:pt x="11363" y="3447"/>
                </a:cubicBezTo>
                <a:cubicBezTo>
                  <a:pt x="11391" y="3508"/>
                  <a:pt x="11391" y="3508"/>
                  <a:pt x="11391" y="3508"/>
                </a:cubicBezTo>
                <a:cubicBezTo>
                  <a:pt x="11401" y="3538"/>
                  <a:pt x="11401" y="3538"/>
                  <a:pt x="11401" y="3538"/>
                </a:cubicBezTo>
                <a:cubicBezTo>
                  <a:pt x="11401" y="3538"/>
                  <a:pt x="11387" y="3535"/>
                  <a:pt x="11386" y="3543"/>
                </a:cubicBezTo>
                <a:cubicBezTo>
                  <a:pt x="11384" y="3552"/>
                  <a:pt x="11378" y="3577"/>
                  <a:pt x="11378" y="3577"/>
                </a:cubicBezTo>
                <a:cubicBezTo>
                  <a:pt x="11407" y="3567"/>
                  <a:pt x="11407" y="3567"/>
                  <a:pt x="11407" y="3567"/>
                </a:cubicBezTo>
                <a:cubicBezTo>
                  <a:pt x="11399" y="3604"/>
                  <a:pt x="11399" y="3604"/>
                  <a:pt x="11399" y="3604"/>
                </a:cubicBezTo>
                <a:cubicBezTo>
                  <a:pt x="11399" y="3604"/>
                  <a:pt x="11395" y="3616"/>
                  <a:pt x="11396" y="3629"/>
                </a:cubicBezTo>
                <a:cubicBezTo>
                  <a:pt x="11397" y="3641"/>
                  <a:pt x="11404" y="3660"/>
                  <a:pt x="11404" y="3660"/>
                </a:cubicBezTo>
                <a:cubicBezTo>
                  <a:pt x="11404" y="3660"/>
                  <a:pt x="11392" y="3692"/>
                  <a:pt x="11390" y="3708"/>
                </a:cubicBezTo>
                <a:cubicBezTo>
                  <a:pt x="11388" y="3724"/>
                  <a:pt x="11390" y="3769"/>
                  <a:pt x="11390" y="3769"/>
                </a:cubicBezTo>
                <a:cubicBezTo>
                  <a:pt x="11390" y="3769"/>
                  <a:pt x="11400" y="3779"/>
                  <a:pt x="11402" y="3769"/>
                </a:cubicBezTo>
                <a:cubicBezTo>
                  <a:pt x="11403" y="3759"/>
                  <a:pt x="11403" y="3735"/>
                  <a:pt x="11407" y="3746"/>
                </a:cubicBezTo>
                <a:cubicBezTo>
                  <a:pt x="11410" y="3758"/>
                  <a:pt x="11402" y="3758"/>
                  <a:pt x="11416" y="3760"/>
                </a:cubicBezTo>
                <a:cubicBezTo>
                  <a:pt x="11430" y="3761"/>
                  <a:pt x="11438" y="3791"/>
                  <a:pt x="11438" y="3791"/>
                </a:cubicBezTo>
                <a:cubicBezTo>
                  <a:pt x="11461" y="3811"/>
                  <a:pt x="11461" y="3811"/>
                  <a:pt x="11461" y="3811"/>
                </a:cubicBezTo>
                <a:cubicBezTo>
                  <a:pt x="11461" y="3811"/>
                  <a:pt x="11456" y="3822"/>
                  <a:pt x="11465" y="3836"/>
                </a:cubicBezTo>
                <a:cubicBezTo>
                  <a:pt x="11471" y="3847"/>
                  <a:pt x="11479" y="3855"/>
                  <a:pt x="11483" y="3859"/>
                </a:cubicBezTo>
                <a:cubicBezTo>
                  <a:pt x="11484" y="3859"/>
                  <a:pt x="11484" y="3860"/>
                  <a:pt x="11484" y="3860"/>
                </a:cubicBezTo>
                <a:cubicBezTo>
                  <a:pt x="11489" y="3921"/>
                  <a:pt x="11489" y="3921"/>
                  <a:pt x="11489" y="3921"/>
                </a:cubicBezTo>
                <a:cubicBezTo>
                  <a:pt x="11489" y="3921"/>
                  <a:pt x="11521" y="3909"/>
                  <a:pt x="11521" y="3929"/>
                </a:cubicBezTo>
                <a:cubicBezTo>
                  <a:pt x="11520" y="3949"/>
                  <a:pt x="11511" y="3971"/>
                  <a:pt x="11522" y="3983"/>
                </a:cubicBezTo>
                <a:cubicBezTo>
                  <a:pt x="11533" y="3996"/>
                  <a:pt x="11545" y="3983"/>
                  <a:pt x="11545" y="3983"/>
                </a:cubicBezTo>
                <a:cubicBezTo>
                  <a:pt x="11545" y="3983"/>
                  <a:pt x="11538" y="4024"/>
                  <a:pt x="11548" y="4033"/>
                </a:cubicBezTo>
                <a:cubicBezTo>
                  <a:pt x="11558" y="4042"/>
                  <a:pt x="11597" y="4066"/>
                  <a:pt x="11597" y="4066"/>
                </a:cubicBezTo>
                <a:cubicBezTo>
                  <a:pt x="11597" y="4066"/>
                  <a:pt x="11599" y="4086"/>
                  <a:pt x="11604" y="4088"/>
                </a:cubicBezTo>
                <a:cubicBezTo>
                  <a:pt x="11609" y="4089"/>
                  <a:pt x="11636" y="4101"/>
                  <a:pt x="11636" y="4101"/>
                </a:cubicBezTo>
                <a:cubicBezTo>
                  <a:pt x="11652" y="4123"/>
                  <a:pt x="11652" y="4123"/>
                  <a:pt x="11652" y="4123"/>
                </a:cubicBezTo>
                <a:cubicBezTo>
                  <a:pt x="11685" y="4120"/>
                  <a:pt x="11685" y="4120"/>
                  <a:pt x="11685" y="4120"/>
                </a:cubicBezTo>
                <a:cubicBezTo>
                  <a:pt x="11685" y="4120"/>
                  <a:pt x="11690" y="4100"/>
                  <a:pt x="11688" y="4082"/>
                </a:cubicBezTo>
                <a:cubicBezTo>
                  <a:pt x="11686" y="4065"/>
                  <a:pt x="11656" y="4045"/>
                  <a:pt x="11655" y="4040"/>
                </a:cubicBezTo>
                <a:cubicBezTo>
                  <a:pt x="11654" y="4035"/>
                  <a:pt x="11660" y="4023"/>
                  <a:pt x="11653" y="4014"/>
                </a:cubicBezTo>
                <a:cubicBezTo>
                  <a:pt x="11645" y="4005"/>
                  <a:pt x="11651" y="4003"/>
                  <a:pt x="11651" y="3990"/>
                </a:cubicBezTo>
                <a:cubicBezTo>
                  <a:pt x="11652" y="3978"/>
                  <a:pt x="11655" y="3939"/>
                  <a:pt x="11650" y="3917"/>
                </a:cubicBezTo>
                <a:cubicBezTo>
                  <a:pt x="11646" y="3895"/>
                  <a:pt x="11604" y="3880"/>
                  <a:pt x="11598" y="3871"/>
                </a:cubicBezTo>
                <a:cubicBezTo>
                  <a:pt x="11596" y="3868"/>
                  <a:pt x="11591" y="3864"/>
                  <a:pt x="11586" y="3861"/>
                </a:cubicBezTo>
                <a:cubicBezTo>
                  <a:pt x="11586" y="3861"/>
                  <a:pt x="11586" y="3861"/>
                  <a:pt x="11586" y="3861"/>
                </a:cubicBezTo>
                <a:cubicBezTo>
                  <a:pt x="11577" y="3854"/>
                  <a:pt x="11567" y="3848"/>
                  <a:pt x="11567" y="3848"/>
                </a:cubicBezTo>
                <a:cubicBezTo>
                  <a:pt x="11567" y="3848"/>
                  <a:pt x="11562" y="3824"/>
                  <a:pt x="11559" y="3814"/>
                </a:cubicBezTo>
                <a:cubicBezTo>
                  <a:pt x="11556" y="3804"/>
                  <a:pt x="11529" y="3824"/>
                  <a:pt x="11521" y="3820"/>
                </a:cubicBezTo>
                <a:cubicBezTo>
                  <a:pt x="11514" y="3816"/>
                  <a:pt x="11507" y="3779"/>
                  <a:pt x="11502" y="3782"/>
                </a:cubicBezTo>
                <a:cubicBezTo>
                  <a:pt x="11497" y="3786"/>
                  <a:pt x="11502" y="3797"/>
                  <a:pt x="11496" y="3798"/>
                </a:cubicBezTo>
                <a:cubicBezTo>
                  <a:pt x="11490" y="3799"/>
                  <a:pt x="11475" y="3776"/>
                  <a:pt x="11483" y="3768"/>
                </a:cubicBezTo>
                <a:cubicBezTo>
                  <a:pt x="11491" y="3760"/>
                  <a:pt x="11488" y="3775"/>
                  <a:pt x="11496" y="3772"/>
                </a:cubicBezTo>
                <a:cubicBezTo>
                  <a:pt x="11504" y="3769"/>
                  <a:pt x="11486" y="3738"/>
                  <a:pt x="11484" y="3732"/>
                </a:cubicBezTo>
                <a:cubicBezTo>
                  <a:pt x="11482" y="3726"/>
                  <a:pt x="11471" y="3728"/>
                  <a:pt x="11471" y="3728"/>
                </a:cubicBezTo>
                <a:cubicBezTo>
                  <a:pt x="11472" y="3691"/>
                  <a:pt x="11472" y="3691"/>
                  <a:pt x="11472" y="3691"/>
                </a:cubicBezTo>
                <a:cubicBezTo>
                  <a:pt x="11437" y="3701"/>
                  <a:pt x="11437" y="3701"/>
                  <a:pt x="11437" y="3701"/>
                </a:cubicBezTo>
                <a:cubicBezTo>
                  <a:pt x="11437" y="3701"/>
                  <a:pt x="11433" y="3642"/>
                  <a:pt x="11432" y="3635"/>
                </a:cubicBezTo>
                <a:cubicBezTo>
                  <a:pt x="11431" y="3627"/>
                  <a:pt x="11426" y="3617"/>
                  <a:pt x="11426" y="3617"/>
                </a:cubicBezTo>
                <a:cubicBezTo>
                  <a:pt x="11426" y="3617"/>
                  <a:pt x="11442" y="3609"/>
                  <a:pt x="11443" y="3591"/>
                </a:cubicBezTo>
                <a:cubicBezTo>
                  <a:pt x="11444" y="3572"/>
                  <a:pt x="11444" y="3549"/>
                  <a:pt x="11444" y="3549"/>
                </a:cubicBezTo>
                <a:cubicBezTo>
                  <a:pt x="11444" y="3549"/>
                  <a:pt x="11458" y="3542"/>
                  <a:pt x="11459" y="3518"/>
                </a:cubicBezTo>
                <a:cubicBezTo>
                  <a:pt x="11460" y="3493"/>
                  <a:pt x="11453" y="3489"/>
                  <a:pt x="11453" y="3489"/>
                </a:cubicBezTo>
                <a:cubicBezTo>
                  <a:pt x="11457" y="3467"/>
                  <a:pt x="11457" y="3467"/>
                  <a:pt x="11457" y="3467"/>
                </a:cubicBezTo>
                <a:cubicBezTo>
                  <a:pt x="11464" y="3467"/>
                  <a:pt x="11464" y="3467"/>
                  <a:pt x="11464" y="3467"/>
                </a:cubicBezTo>
                <a:cubicBezTo>
                  <a:pt x="11464" y="3467"/>
                  <a:pt x="11465" y="3459"/>
                  <a:pt x="11477" y="3460"/>
                </a:cubicBezTo>
                <a:cubicBezTo>
                  <a:pt x="11488" y="3460"/>
                  <a:pt x="11507" y="3474"/>
                  <a:pt x="11507" y="3474"/>
                </a:cubicBezTo>
                <a:cubicBezTo>
                  <a:pt x="11499" y="3480"/>
                  <a:pt x="11499" y="3480"/>
                  <a:pt x="11499" y="3480"/>
                </a:cubicBezTo>
                <a:cubicBezTo>
                  <a:pt x="11499" y="3480"/>
                  <a:pt x="11494" y="3512"/>
                  <a:pt x="11505" y="3512"/>
                </a:cubicBezTo>
                <a:cubicBezTo>
                  <a:pt x="11517" y="3513"/>
                  <a:pt x="11553" y="3496"/>
                  <a:pt x="11553" y="3496"/>
                </a:cubicBezTo>
                <a:cubicBezTo>
                  <a:pt x="11571" y="3550"/>
                  <a:pt x="11571" y="3550"/>
                  <a:pt x="11571" y="3550"/>
                </a:cubicBezTo>
                <a:cubicBezTo>
                  <a:pt x="11571" y="3550"/>
                  <a:pt x="11579" y="3538"/>
                  <a:pt x="11590" y="3543"/>
                </a:cubicBezTo>
                <a:cubicBezTo>
                  <a:pt x="11593" y="3544"/>
                  <a:pt x="11596" y="3546"/>
                  <a:pt x="11599" y="3549"/>
                </a:cubicBezTo>
                <a:cubicBezTo>
                  <a:pt x="11614" y="3566"/>
                  <a:pt x="11600" y="3578"/>
                  <a:pt x="11600" y="3578"/>
                </a:cubicBezTo>
                <a:cubicBezTo>
                  <a:pt x="11600" y="3578"/>
                  <a:pt x="11609" y="3600"/>
                  <a:pt x="11619" y="3601"/>
                </a:cubicBezTo>
                <a:cubicBezTo>
                  <a:pt x="11629" y="3601"/>
                  <a:pt x="11632" y="3588"/>
                  <a:pt x="11632" y="3588"/>
                </a:cubicBezTo>
                <a:cubicBezTo>
                  <a:pt x="11632" y="3588"/>
                  <a:pt x="11631" y="3612"/>
                  <a:pt x="11641" y="3614"/>
                </a:cubicBezTo>
                <a:cubicBezTo>
                  <a:pt x="11652" y="3616"/>
                  <a:pt x="11662" y="3608"/>
                  <a:pt x="11664" y="3618"/>
                </a:cubicBezTo>
                <a:cubicBezTo>
                  <a:pt x="11665" y="3622"/>
                  <a:pt x="11668" y="3628"/>
                  <a:pt x="11670" y="3633"/>
                </a:cubicBezTo>
                <a:cubicBezTo>
                  <a:pt x="11683" y="3634"/>
                  <a:pt x="11683" y="3634"/>
                  <a:pt x="11683" y="3634"/>
                </a:cubicBezTo>
                <a:cubicBezTo>
                  <a:pt x="11682" y="3636"/>
                  <a:pt x="11683" y="3638"/>
                  <a:pt x="11684" y="3640"/>
                </a:cubicBezTo>
                <a:cubicBezTo>
                  <a:pt x="11690" y="3648"/>
                  <a:pt x="11713" y="3660"/>
                  <a:pt x="11713" y="3660"/>
                </a:cubicBezTo>
                <a:cubicBezTo>
                  <a:pt x="11700" y="3671"/>
                  <a:pt x="11700" y="3671"/>
                  <a:pt x="11700" y="3671"/>
                </a:cubicBezTo>
                <a:cubicBezTo>
                  <a:pt x="11700" y="3671"/>
                  <a:pt x="11714" y="3706"/>
                  <a:pt x="11707" y="3712"/>
                </a:cubicBezTo>
                <a:cubicBezTo>
                  <a:pt x="11703" y="3715"/>
                  <a:pt x="11700" y="3721"/>
                  <a:pt x="11698" y="3726"/>
                </a:cubicBezTo>
                <a:cubicBezTo>
                  <a:pt x="11699" y="3726"/>
                  <a:pt x="11699" y="3726"/>
                  <a:pt x="11699" y="3726"/>
                </a:cubicBezTo>
                <a:cubicBezTo>
                  <a:pt x="11708" y="3732"/>
                  <a:pt x="11722" y="3732"/>
                  <a:pt x="11732" y="3720"/>
                </a:cubicBezTo>
                <a:cubicBezTo>
                  <a:pt x="11743" y="3709"/>
                  <a:pt x="11756" y="3705"/>
                  <a:pt x="11756" y="3705"/>
                </a:cubicBezTo>
                <a:cubicBezTo>
                  <a:pt x="11759" y="3689"/>
                  <a:pt x="11759" y="3689"/>
                  <a:pt x="11759" y="3689"/>
                </a:cubicBezTo>
                <a:cubicBezTo>
                  <a:pt x="11759" y="3673"/>
                  <a:pt x="11759" y="3673"/>
                  <a:pt x="11759" y="3673"/>
                </a:cubicBezTo>
                <a:cubicBezTo>
                  <a:pt x="11759" y="3673"/>
                  <a:pt x="11784" y="3684"/>
                  <a:pt x="11789" y="3672"/>
                </a:cubicBezTo>
                <a:cubicBezTo>
                  <a:pt x="11793" y="3660"/>
                  <a:pt x="11773" y="3648"/>
                  <a:pt x="11777" y="3645"/>
                </a:cubicBezTo>
                <a:cubicBezTo>
                  <a:pt x="11781" y="3641"/>
                  <a:pt x="11804" y="3630"/>
                  <a:pt x="11804" y="3630"/>
                </a:cubicBezTo>
                <a:cubicBezTo>
                  <a:pt x="11804" y="3630"/>
                  <a:pt x="11815" y="3639"/>
                  <a:pt x="11838" y="3627"/>
                </a:cubicBezTo>
                <a:cubicBezTo>
                  <a:pt x="11860" y="3616"/>
                  <a:pt x="11891" y="3593"/>
                  <a:pt x="11895" y="3576"/>
                </a:cubicBezTo>
                <a:cubicBezTo>
                  <a:pt x="11898" y="3559"/>
                  <a:pt x="11911" y="3514"/>
                  <a:pt x="11909" y="3504"/>
                </a:cubicBezTo>
                <a:cubicBezTo>
                  <a:pt x="11907" y="3494"/>
                  <a:pt x="11889" y="3476"/>
                  <a:pt x="11889" y="3476"/>
                </a:cubicBezTo>
                <a:cubicBezTo>
                  <a:pt x="11899" y="3472"/>
                  <a:pt x="11899" y="3472"/>
                  <a:pt x="11899" y="3472"/>
                </a:cubicBezTo>
                <a:cubicBezTo>
                  <a:pt x="11899" y="3472"/>
                  <a:pt x="11899" y="3435"/>
                  <a:pt x="11894" y="3422"/>
                </a:cubicBezTo>
                <a:cubicBezTo>
                  <a:pt x="11888" y="3408"/>
                  <a:pt x="11872" y="3385"/>
                  <a:pt x="11872" y="3385"/>
                </a:cubicBezTo>
                <a:cubicBezTo>
                  <a:pt x="11872" y="3385"/>
                  <a:pt x="11883" y="3371"/>
                  <a:pt x="11867" y="3355"/>
                </a:cubicBezTo>
                <a:cubicBezTo>
                  <a:pt x="11851" y="3340"/>
                  <a:pt x="11806" y="3298"/>
                  <a:pt x="11792" y="3291"/>
                </a:cubicBezTo>
                <a:cubicBezTo>
                  <a:pt x="11778" y="3285"/>
                  <a:pt x="11763" y="3277"/>
                  <a:pt x="11760" y="3269"/>
                </a:cubicBezTo>
                <a:cubicBezTo>
                  <a:pt x="11756" y="3262"/>
                  <a:pt x="11764" y="3256"/>
                  <a:pt x="11758" y="3246"/>
                </a:cubicBezTo>
                <a:cubicBezTo>
                  <a:pt x="11752" y="3236"/>
                  <a:pt x="11704" y="3195"/>
                  <a:pt x="11697" y="3172"/>
                </a:cubicBezTo>
                <a:cubicBezTo>
                  <a:pt x="11691" y="3148"/>
                  <a:pt x="11686" y="3122"/>
                  <a:pt x="11692" y="3117"/>
                </a:cubicBezTo>
                <a:cubicBezTo>
                  <a:pt x="11699" y="3113"/>
                  <a:pt x="11701" y="3097"/>
                  <a:pt x="11701" y="3097"/>
                </a:cubicBezTo>
                <a:cubicBezTo>
                  <a:pt x="11701" y="3097"/>
                  <a:pt x="11719" y="3084"/>
                  <a:pt x="11724" y="3080"/>
                </a:cubicBezTo>
                <a:cubicBezTo>
                  <a:pt x="11730" y="3077"/>
                  <a:pt x="11733" y="3066"/>
                  <a:pt x="11733" y="3066"/>
                </a:cubicBezTo>
                <a:cubicBezTo>
                  <a:pt x="11733" y="3066"/>
                  <a:pt x="11752" y="3069"/>
                  <a:pt x="11758" y="3064"/>
                </a:cubicBezTo>
                <a:cubicBezTo>
                  <a:pt x="11763" y="3059"/>
                  <a:pt x="11763" y="3037"/>
                  <a:pt x="11763" y="3037"/>
                </a:cubicBezTo>
                <a:cubicBezTo>
                  <a:pt x="11770" y="3032"/>
                  <a:pt x="11770" y="3032"/>
                  <a:pt x="11770" y="3032"/>
                </a:cubicBezTo>
                <a:cubicBezTo>
                  <a:pt x="11799" y="3013"/>
                  <a:pt x="11799" y="3013"/>
                  <a:pt x="11799" y="3013"/>
                </a:cubicBezTo>
                <a:cubicBezTo>
                  <a:pt x="11811" y="3021"/>
                  <a:pt x="11811" y="3021"/>
                  <a:pt x="11811" y="3021"/>
                </a:cubicBezTo>
                <a:cubicBezTo>
                  <a:pt x="11811" y="3021"/>
                  <a:pt x="11856" y="3021"/>
                  <a:pt x="11862" y="3032"/>
                </a:cubicBezTo>
                <a:cubicBezTo>
                  <a:pt x="11867" y="3044"/>
                  <a:pt x="11852" y="3066"/>
                  <a:pt x="11859" y="3077"/>
                </a:cubicBezTo>
                <a:cubicBezTo>
                  <a:pt x="11867" y="3088"/>
                  <a:pt x="11888" y="3103"/>
                  <a:pt x="11888" y="3103"/>
                </a:cubicBezTo>
                <a:cubicBezTo>
                  <a:pt x="11902" y="3101"/>
                  <a:pt x="11902" y="3101"/>
                  <a:pt x="11902" y="3101"/>
                </a:cubicBezTo>
                <a:cubicBezTo>
                  <a:pt x="11902" y="3089"/>
                  <a:pt x="11902" y="3089"/>
                  <a:pt x="11902" y="3089"/>
                </a:cubicBezTo>
                <a:cubicBezTo>
                  <a:pt x="11902" y="3089"/>
                  <a:pt x="11893" y="3057"/>
                  <a:pt x="11905" y="3040"/>
                </a:cubicBezTo>
                <a:cubicBezTo>
                  <a:pt x="11917" y="3024"/>
                  <a:pt x="11944" y="3026"/>
                  <a:pt x="11958" y="3023"/>
                </a:cubicBezTo>
                <a:cubicBezTo>
                  <a:pt x="11971" y="3020"/>
                  <a:pt x="12014" y="3011"/>
                  <a:pt x="12014" y="3001"/>
                </a:cubicBezTo>
                <a:cubicBezTo>
                  <a:pt x="12015" y="2991"/>
                  <a:pt x="12015" y="2961"/>
                  <a:pt x="12024" y="2959"/>
                </a:cubicBezTo>
                <a:cubicBezTo>
                  <a:pt x="12033" y="2957"/>
                  <a:pt x="12040" y="2991"/>
                  <a:pt x="12049" y="2987"/>
                </a:cubicBezTo>
                <a:cubicBezTo>
                  <a:pt x="12059" y="2984"/>
                  <a:pt x="12079" y="2953"/>
                  <a:pt x="12079" y="2953"/>
                </a:cubicBezTo>
                <a:cubicBezTo>
                  <a:pt x="12090" y="2963"/>
                  <a:pt x="12090" y="2963"/>
                  <a:pt x="12090" y="2963"/>
                </a:cubicBezTo>
                <a:cubicBezTo>
                  <a:pt x="12112" y="2956"/>
                  <a:pt x="12112" y="2956"/>
                  <a:pt x="12112" y="2956"/>
                </a:cubicBezTo>
                <a:cubicBezTo>
                  <a:pt x="12112" y="2956"/>
                  <a:pt x="12137" y="2963"/>
                  <a:pt x="12149" y="2956"/>
                </a:cubicBezTo>
                <a:cubicBezTo>
                  <a:pt x="12162" y="2949"/>
                  <a:pt x="12167" y="2946"/>
                  <a:pt x="12174" y="2941"/>
                </a:cubicBezTo>
                <a:cubicBezTo>
                  <a:pt x="12180" y="2936"/>
                  <a:pt x="12209" y="2911"/>
                  <a:pt x="12214" y="2901"/>
                </a:cubicBezTo>
                <a:cubicBezTo>
                  <a:pt x="12218" y="2891"/>
                  <a:pt x="12205" y="2871"/>
                  <a:pt x="12205" y="2871"/>
                </a:cubicBezTo>
                <a:cubicBezTo>
                  <a:pt x="12218" y="2871"/>
                  <a:pt x="12218" y="2871"/>
                  <a:pt x="12218" y="2871"/>
                </a:cubicBezTo>
                <a:cubicBezTo>
                  <a:pt x="12224" y="2851"/>
                  <a:pt x="12224" y="2851"/>
                  <a:pt x="12224" y="2851"/>
                </a:cubicBezTo>
                <a:cubicBezTo>
                  <a:pt x="12239" y="2852"/>
                  <a:pt x="12239" y="2852"/>
                  <a:pt x="12239" y="2852"/>
                </a:cubicBezTo>
                <a:cubicBezTo>
                  <a:pt x="12246" y="2827"/>
                  <a:pt x="12246" y="2827"/>
                  <a:pt x="12246" y="2827"/>
                </a:cubicBezTo>
                <a:cubicBezTo>
                  <a:pt x="12254" y="2827"/>
                  <a:pt x="12254" y="2827"/>
                  <a:pt x="12254" y="2827"/>
                </a:cubicBezTo>
                <a:cubicBezTo>
                  <a:pt x="12258" y="2800"/>
                  <a:pt x="12258" y="2800"/>
                  <a:pt x="12258" y="2800"/>
                </a:cubicBezTo>
                <a:cubicBezTo>
                  <a:pt x="12258" y="2800"/>
                  <a:pt x="12272" y="2805"/>
                  <a:pt x="12272" y="2783"/>
                </a:cubicBezTo>
                <a:cubicBezTo>
                  <a:pt x="12272" y="2761"/>
                  <a:pt x="12259" y="2764"/>
                  <a:pt x="12264" y="2756"/>
                </a:cubicBezTo>
                <a:cubicBezTo>
                  <a:pt x="12268" y="2747"/>
                  <a:pt x="12287" y="2750"/>
                  <a:pt x="12287" y="2732"/>
                </a:cubicBezTo>
                <a:cubicBezTo>
                  <a:pt x="12288" y="2715"/>
                  <a:pt x="12276" y="2715"/>
                  <a:pt x="12277" y="2708"/>
                </a:cubicBezTo>
                <a:cubicBezTo>
                  <a:pt x="12277" y="2700"/>
                  <a:pt x="12288" y="2697"/>
                  <a:pt x="12288" y="2697"/>
                </a:cubicBezTo>
                <a:cubicBezTo>
                  <a:pt x="12289" y="2671"/>
                  <a:pt x="12289" y="2671"/>
                  <a:pt x="12289" y="2671"/>
                </a:cubicBezTo>
                <a:cubicBezTo>
                  <a:pt x="12289" y="2671"/>
                  <a:pt x="12316" y="2663"/>
                  <a:pt x="12323" y="2647"/>
                </a:cubicBezTo>
                <a:cubicBezTo>
                  <a:pt x="12330" y="2631"/>
                  <a:pt x="12313" y="2630"/>
                  <a:pt x="12313" y="2630"/>
                </a:cubicBezTo>
                <a:cubicBezTo>
                  <a:pt x="12313" y="2630"/>
                  <a:pt x="12345" y="2625"/>
                  <a:pt x="12345" y="2616"/>
                </a:cubicBezTo>
                <a:cubicBezTo>
                  <a:pt x="12346" y="2607"/>
                  <a:pt x="12327" y="2602"/>
                  <a:pt x="12327" y="2602"/>
                </a:cubicBezTo>
                <a:cubicBezTo>
                  <a:pt x="12327" y="2602"/>
                  <a:pt x="12365" y="2568"/>
                  <a:pt x="12348" y="2558"/>
                </a:cubicBezTo>
                <a:cubicBezTo>
                  <a:pt x="12331" y="2549"/>
                  <a:pt x="12251" y="2571"/>
                  <a:pt x="12251" y="2571"/>
                </a:cubicBezTo>
                <a:cubicBezTo>
                  <a:pt x="12241" y="2560"/>
                  <a:pt x="12241" y="2560"/>
                  <a:pt x="12241" y="2560"/>
                </a:cubicBezTo>
                <a:cubicBezTo>
                  <a:pt x="12266" y="2559"/>
                  <a:pt x="12266" y="2559"/>
                  <a:pt x="12266" y="2559"/>
                </a:cubicBezTo>
                <a:cubicBezTo>
                  <a:pt x="12266" y="2559"/>
                  <a:pt x="12266" y="2544"/>
                  <a:pt x="12276" y="2540"/>
                </a:cubicBezTo>
                <a:cubicBezTo>
                  <a:pt x="12286" y="2536"/>
                  <a:pt x="12305" y="2534"/>
                  <a:pt x="12305" y="2534"/>
                </a:cubicBezTo>
                <a:cubicBezTo>
                  <a:pt x="12305" y="2534"/>
                  <a:pt x="12292" y="2510"/>
                  <a:pt x="12288" y="2509"/>
                </a:cubicBezTo>
                <a:cubicBezTo>
                  <a:pt x="12284" y="2508"/>
                  <a:pt x="12261" y="2502"/>
                  <a:pt x="12261" y="2502"/>
                </a:cubicBezTo>
                <a:cubicBezTo>
                  <a:pt x="12253" y="2491"/>
                  <a:pt x="12253" y="2491"/>
                  <a:pt x="12253" y="2491"/>
                </a:cubicBezTo>
                <a:cubicBezTo>
                  <a:pt x="12244" y="2492"/>
                  <a:pt x="12244" y="2492"/>
                  <a:pt x="12244" y="2492"/>
                </a:cubicBezTo>
                <a:cubicBezTo>
                  <a:pt x="12244" y="2492"/>
                  <a:pt x="12235" y="2480"/>
                  <a:pt x="12228" y="2479"/>
                </a:cubicBezTo>
                <a:cubicBezTo>
                  <a:pt x="12221" y="2478"/>
                  <a:pt x="12203" y="2484"/>
                  <a:pt x="12203" y="2484"/>
                </a:cubicBezTo>
                <a:cubicBezTo>
                  <a:pt x="12180" y="2453"/>
                  <a:pt x="12180" y="2453"/>
                  <a:pt x="12180" y="2453"/>
                </a:cubicBezTo>
                <a:cubicBezTo>
                  <a:pt x="12180" y="2453"/>
                  <a:pt x="12201" y="2474"/>
                  <a:pt x="12207" y="2472"/>
                </a:cubicBezTo>
                <a:cubicBezTo>
                  <a:pt x="12213" y="2470"/>
                  <a:pt x="12220" y="2466"/>
                  <a:pt x="12220" y="2466"/>
                </a:cubicBezTo>
                <a:cubicBezTo>
                  <a:pt x="12239" y="2471"/>
                  <a:pt x="12239" y="2471"/>
                  <a:pt x="12239" y="2471"/>
                </a:cubicBezTo>
                <a:cubicBezTo>
                  <a:pt x="12249" y="2482"/>
                  <a:pt x="12249" y="2482"/>
                  <a:pt x="12249" y="2482"/>
                </a:cubicBezTo>
                <a:cubicBezTo>
                  <a:pt x="12258" y="2478"/>
                  <a:pt x="12258" y="2478"/>
                  <a:pt x="12258" y="2478"/>
                </a:cubicBezTo>
                <a:cubicBezTo>
                  <a:pt x="12289" y="2488"/>
                  <a:pt x="12289" y="2488"/>
                  <a:pt x="12289" y="2488"/>
                </a:cubicBezTo>
                <a:cubicBezTo>
                  <a:pt x="12276" y="2471"/>
                  <a:pt x="12276" y="2471"/>
                  <a:pt x="12276" y="2471"/>
                </a:cubicBezTo>
                <a:cubicBezTo>
                  <a:pt x="12265" y="2469"/>
                  <a:pt x="12265" y="2469"/>
                  <a:pt x="12265" y="2469"/>
                </a:cubicBezTo>
                <a:cubicBezTo>
                  <a:pt x="12265" y="2469"/>
                  <a:pt x="12264" y="2447"/>
                  <a:pt x="12256" y="2446"/>
                </a:cubicBezTo>
                <a:cubicBezTo>
                  <a:pt x="12248" y="2445"/>
                  <a:pt x="12236" y="2442"/>
                  <a:pt x="12231" y="2438"/>
                </a:cubicBezTo>
                <a:cubicBezTo>
                  <a:pt x="12226" y="2434"/>
                  <a:pt x="12224" y="2415"/>
                  <a:pt x="12224" y="2415"/>
                </a:cubicBezTo>
                <a:cubicBezTo>
                  <a:pt x="12170" y="2349"/>
                  <a:pt x="12170" y="2349"/>
                  <a:pt x="12170" y="2349"/>
                </a:cubicBezTo>
                <a:cubicBezTo>
                  <a:pt x="12148" y="2343"/>
                  <a:pt x="12148" y="2343"/>
                  <a:pt x="12148" y="2343"/>
                </a:cubicBezTo>
                <a:cubicBezTo>
                  <a:pt x="12125" y="2325"/>
                  <a:pt x="12125" y="2325"/>
                  <a:pt x="12125" y="2325"/>
                </a:cubicBezTo>
                <a:cubicBezTo>
                  <a:pt x="12110" y="2327"/>
                  <a:pt x="12110" y="2327"/>
                  <a:pt x="12110" y="2327"/>
                </a:cubicBezTo>
                <a:cubicBezTo>
                  <a:pt x="12110" y="2327"/>
                  <a:pt x="12097" y="2302"/>
                  <a:pt x="12103" y="2298"/>
                </a:cubicBezTo>
                <a:cubicBezTo>
                  <a:pt x="12109" y="2294"/>
                  <a:pt x="12127" y="2282"/>
                  <a:pt x="12127" y="2273"/>
                </a:cubicBezTo>
                <a:cubicBezTo>
                  <a:pt x="12127" y="2264"/>
                  <a:pt x="12120" y="2246"/>
                  <a:pt x="12120" y="2246"/>
                </a:cubicBezTo>
                <a:cubicBezTo>
                  <a:pt x="12120" y="2246"/>
                  <a:pt x="12137" y="2263"/>
                  <a:pt x="12145" y="2257"/>
                </a:cubicBezTo>
                <a:cubicBezTo>
                  <a:pt x="12153" y="2251"/>
                  <a:pt x="12144" y="2224"/>
                  <a:pt x="12144" y="2224"/>
                </a:cubicBezTo>
                <a:cubicBezTo>
                  <a:pt x="12159" y="2225"/>
                  <a:pt x="12159" y="2225"/>
                  <a:pt x="12159" y="2225"/>
                </a:cubicBezTo>
                <a:cubicBezTo>
                  <a:pt x="12184" y="2206"/>
                  <a:pt x="12184" y="2206"/>
                  <a:pt x="12184" y="2206"/>
                </a:cubicBezTo>
                <a:cubicBezTo>
                  <a:pt x="12184" y="2206"/>
                  <a:pt x="12204" y="2212"/>
                  <a:pt x="12209" y="2211"/>
                </a:cubicBezTo>
                <a:cubicBezTo>
                  <a:pt x="12214" y="2210"/>
                  <a:pt x="12205" y="2196"/>
                  <a:pt x="12205" y="2196"/>
                </a:cubicBezTo>
                <a:cubicBezTo>
                  <a:pt x="12209" y="2180"/>
                  <a:pt x="12209" y="2180"/>
                  <a:pt x="12209" y="2180"/>
                </a:cubicBezTo>
                <a:cubicBezTo>
                  <a:pt x="12187" y="2180"/>
                  <a:pt x="12187" y="2180"/>
                  <a:pt x="12187" y="2180"/>
                </a:cubicBezTo>
                <a:cubicBezTo>
                  <a:pt x="12179" y="2173"/>
                  <a:pt x="12179" y="2173"/>
                  <a:pt x="12179" y="2173"/>
                </a:cubicBezTo>
                <a:cubicBezTo>
                  <a:pt x="12174" y="2181"/>
                  <a:pt x="12174" y="2181"/>
                  <a:pt x="12174" y="2181"/>
                </a:cubicBezTo>
                <a:cubicBezTo>
                  <a:pt x="12153" y="2178"/>
                  <a:pt x="12153" y="2178"/>
                  <a:pt x="12153" y="2178"/>
                </a:cubicBezTo>
                <a:cubicBezTo>
                  <a:pt x="12153" y="2178"/>
                  <a:pt x="12137" y="2160"/>
                  <a:pt x="12124" y="2160"/>
                </a:cubicBezTo>
                <a:cubicBezTo>
                  <a:pt x="12111" y="2160"/>
                  <a:pt x="12093" y="2183"/>
                  <a:pt x="12092" y="2188"/>
                </a:cubicBezTo>
                <a:cubicBezTo>
                  <a:pt x="12091" y="2193"/>
                  <a:pt x="12087" y="2202"/>
                  <a:pt x="12077" y="2200"/>
                </a:cubicBezTo>
                <a:cubicBezTo>
                  <a:pt x="12067" y="2198"/>
                  <a:pt x="12045" y="2192"/>
                  <a:pt x="12043" y="2178"/>
                </a:cubicBezTo>
                <a:cubicBezTo>
                  <a:pt x="12041" y="2164"/>
                  <a:pt x="12033" y="2147"/>
                  <a:pt x="12027" y="2143"/>
                </a:cubicBezTo>
                <a:cubicBezTo>
                  <a:pt x="12021" y="2139"/>
                  <a:pt x="12017" y="2146"/>
                  <a:pt x="12017" y="2146"/>
                </a:cubicBezTo>
                <a:cubicBezTo>
                  <a:pt x="12017" y="2155"/>
                  <a:pt x="12017" y="2155"/>
                  <a:pt x="12017" y="2155"/>
                </a:cubicBezTo>
                <a:cubicBezTo>
                  <a:pt x="12009" y="2143"/>
                  <a:pt x="12009" y="2143"/>
                  <a:pt x="12009" y="2143"/>
                </a:cubicBezTo>
                <a:cubicBezTo>
                  <a:pt x="12009" y="2143"/>
                  <a:pt x="11981" y="2146"/>
                  <a:pt x="11972" y="2137"/>
                </a:cubicBezTo>
                <a:cubicBezTo>
                  <a:pt x="11963" y="2128"/>
                  <a:pt x="11952" y="2109"/>
                  <a:pt x="11955" y="2103"/>
                </a:cubicBezTo>
                <a:cubicBezTo>
                  <a:pt x="11958" y="2097"/>
                  <a:pt x="11957" y="2087"/>
                  <a:pt x="11957" y="2087"/>
                </a:cubicBezTo>
                <a:cubicBezTo>
                  <a:pt x="11968" y="2086"/>
                  <a:pt x="11968" y="2086"/>
                  <a:pt x="11968" y="2086"/>
                </a:cubicBezTo>
                <a:cubicBezTo>
                  <a:pt x="11968" y="2086"/>
                  <a:pt x="11974" y="2095"/>
                  <a:pt x="11978" y="2094"/>
                </a:cubicBezTo>
                <a:cubicBezTo>
                  <a:pt x="11982" y="2093"/>
                  <a:pt x="11988" y="2085"/>
                  <a:pt x="11988" y="2085"/>
                </a:cubicBezTo>
                <a:cubicBezTo>
                  <a:pt x="11988" y="2085"/>
                  <a:pt x="12001" y="2093"/>
                  <a:pt x="12010" y="2085"/>
                </a:cubicBezTo>
                <a:cubicBezTo>
                  <a:pt x="12019" y="2077"/>
                  <a:pt x="12011" y="2069"/>
                  <a:pt x="12011" y="2069"/>
                </a:cubicBezTo>
                <a:cubicBezTo>
                  <a:pt x="12011" y="2069"/>
                  <a:pt x="12010" y="2045"/>
                  <a:pt x="12016" y="2041"/>
                </a:cubicBezTo>
                <a:cubicBezTo>
                  <a:pt x="12022" y="2037"/>
                  <a:pt x="12041" y="2045"/>
                  <a:pt x="12045" y="2034"/>
                </a:cubicBezTo>
                <a:cubicBezTo>
                  <a:pt x="12049" y="2023"/>
                  <a:pt x="12050" y="2010"/>
                  <a:pt x="12050" y="2010"/>
                </a:cubicBezTo>
                <a:cubicBezTo>
                  <a:pt x="12062" y="2003"/>
                  <a:pt x="12062" y="2003"/>
                  <a:pt x="12062" y="2003"/>
                </a:cubicBezTo>
                <a:cubicBezTo>
                  <a:pt x="12056" y="1995"/>
                  <a:pt x="12056" y="1995"/>
                  <a:pt x="12056" y="1995"/>
                </a:cubicBezTo>
                <a:cubicBezTo>
                  <a:pt x="12081" y="2002"/>
                  <a:pt x="12081" y="2002"/>
                  <a:pt x="12081" y="2002"/>
                </a:cubicBezTo>
                <a:cubicBezTo>
                  <a:pt x="12092" y="1992"/>
                  <a:pt x="12092" y="1992"/>
                  <a:pt x="12092" y="1992"/>
                </a:cubicBezTo>
                <a:cubicBezTo>
                  <a:pt x="12092" y="1992"/>
                  <a:pt x="12123" y="2015"/>
                  <a:pt x="12121" y="2029"/>
                </a:cubicBezTo>
                <a:cubicBezTo>
                  <a:pt x="12119" y="2043"/>
                  <a:pt x="12101" y="2046"/>
                  <a:pt x="12100" y="2055"/>
                </a:cubicBezTo>
                <a:cubicBezTo>
                  <a:pt x="12099" y="2064"/>
                  <a:pt x="12104" y="2079"/>
                  <a:pt x="12111" y="2079"/>
                </a:cubicBezTo>
                <a:cubicBezTo>
                  <a:pt x="12118" y="2079"/>
                  <a:pt x="12127" y="2076"/>
                  <a:pt x="12127" y="2076"/>
                </a:cubicBezTo>
                <a:cubicBezTo>
                  <a:pt x="12122" y="2094"/>
                  <a:pt x="12122" y="2094"/>
                  <a:pt x="12122" y="2094"/>
                </a:cubicBezTo>
                <a:cubicBezTo>
                  <a:pt x="12122" y="2094"/>
                  <a:pt x="12103" y="2111"/>
                  <a:pt x="12112" y="2113"/>
                </a:cubicBezTo>
                <a:cubicBezTo>
                  <a:pt x="12121" y="2115"/>
                  <a:pt x="12135" y="2101"/>
                  <a:pt x="12135" y="2101"/>
                </a:cubicBezTo>
                <a:cubicBezTo>
                  <a:pt x="12135" y="2101"/>
                  <a:pt x="12139" y="2102"/>
                  <a:pt x="12144" y="2097"/>
                </a:cubicBezTo>
                <a:cubicBezTo>
                  <a:pt x="12149" y="2092"/>
                  <a:pt x="12148" y="2077"/>
                  <a:pt x="12148" y="2077"/>
                </a:cubicBezTo>
                <a:cubicBezTo>
                  <a:pt x="12148" y="2077"/>
                  <a:pt x="12189" y="2056"/>
                  <a:pt x="12193" y="2053"/>
                </a:cubicBezTo>
                <a:cubicBezTo>
                  <a:pt x="12197" y="2050"/>
                  <a:pt x="12218" y="2052"/>
                  <a:pt x="12218" y="2052"/>
                </a:cubicBezTo>
                <a:cubicBezTo>
                  <a:pt x="12226" y="2039"/>
                  <a:pt x="12226" y="2039"/>
                  <a:pt x="12226" y="2039"/>
                </a:cubicBezTo>
                <a:cubicBezTo>
                  <a:pt x="12232" y="2053"/>
                  <a:pt x="12232" y="2053"/>
                  <a:pt x="12232" y="2053"/>
                </a:cubicBezTo>
                <a:cubicBezTo>
                  <a:pt x="12244" y="2067"/>
                  <a:pt x="12244" y="2067"/>
                  <a:pt x="12244" y="2067"/>
                </a:cubicBezTo>
                <a:cubicBezTo>
                  <a:pt x="12251" y="2055"/>
                  <a:pt x="12251" y="2055"/>
                  <a:pt x="12251" y="2055"/>
                </a:cubicBezTo>
                <a:cubicBezTo>
                  <a:pt x="12251" y="2055"/>
                  <a:pt x="12260" y="2068"/>
                  <a:pt x="12265" y="2068"/>
                </a:cubicBezTo>
                <a:cubicBezTo>
                  <a:pt x="12270" y="2068"/>
                  <a:pt x="12278" y="2062"/>
                  <a:pt x="12282" y="2069"/>
                </a:cubicBezTo>
                <a:cubicBezTo>
                  <a:pt x="12286" y="2076"/>
                  <a:pt x="12286" y="2110"/>
                  <a:pt x="12286" y="2110"/>
                </a:cubicBezTo>
                <a:cubicBezTo>
                  <a:pt x="12311" y="2110"/>
                  <a:pt x="12311" y="2110"/>
                  <a:pt x="12311" y="2110"/>
                </a:cubicBezTo>
                <a:cubicBezTo>
                  <a:pt x="12314" y="2120"/>
                  <a:pt x="12314" y="2120"/>
                  <a:pt x="12314" y="2120"/>
                </a:cubicBezTo>
                <a:cubicBezTo>
                  <a:pt x="12314" y="2120"/>
                  <a:pt x="12291" y="2108"/>
                  <a:pt x="12287" y="2121"/>
                </a:cubicBezTo>
                <a:cubicBezTo>
                  <a:pt x="12283" y="2134"/>
                  <a:pt x="12298" y="2150"/>
                  <a:pt x="12298" y="2150"/>
                </a:cubicBezTo>
                <a:cubicBezTo>
                  <a:pt x="12305" y="2161"/>
                  <a:pt x="12305" y="2161"/>
                  <a:pt x="12305" y="2161"/>
                </a:cubicBezTo>
                <a:cubicBezTo>
                  <a:pt x="12324" y="2153"/>
                  <a:pt x="12324" y="2153"/>
                  <a:pt x="12324" y="2153"/>
                </a:cubicBezTo>
                <a:cubicBezTo>
                  <a:pt x="12324" y="2153"/>
                  <a:pt x="12344" y="2167"/>
                  <a:pt x="12353" y="2166"/>
                </a:cubicBezTo>
                <a:cubicBezTo>
                  <a:pt x="12362" y="2165"/>
                  <a:pt x="12371" y="2162"/>
                  <a:pt x="12371" y="2162"/>
                </a:cubicBezTo>
                <a:cubicBezTo>
                  <a:pt x="12371" y="2162"/>
                  <a:pt x="12372" y="2173"/>
                  <a:pt x="12379" y="2179"/>
                </a:cubicBezTo>
                <a:cubicBezTo>
                  <a:pt x="12386" y="2185"/>
                  <a:pt x="12401" y="2187"/>
                  <a:pt x="12401" y="2187"/>
                </a:cubicBezTo>
                <a:cubicBezTo>
                  <a:pt x="12412" y="2212"/>
                  <a:pt x="12412" y="2212"/>
                  <a:pt x="12412" y="2212"/>
                </a:cubicBezTo>
                <a:cubicBezTo>
                  <a:pt x="12412" y="2212"/>
                  <a:pt x="12378" y="2198"/>
                  <a:pt x="12377" y="2205"/>
                </a:cubicBezTo>
                <a:cubicBezTo>
                  <a:pt x="12376" y="2212"/>
                  <a:pt x="12398" y="2225"/>
                  <a:pt x="12398" y="2225"/>
                </a:cubicBezTo>
                <a:cubicBezTo>
                  <a:pt x="12408" y="2253"/>
                  <a:pt x="12408" y="2253"/>
                  <a:pt x="12408" y="2253"/>
                </a:cubicBezTo>
                <a:cubicBezTo>
                  <a:pt x="12431" y="2257"/>
                  <a:pt x="12431" y="2257"/>
                  <a:pt x="12431" y="2257"/>
                </a:cubicBezTo>
                <a:cubicBezTo>
                  <a:pt x="12431" y="2276"/>
                  <a:pt x="12431" y="2276"/>
                  <a:pt x="12431" y="2276"/>
                </a:cubicBezTo>
                <a:cubicBezTo>
                  <a:pt x="12431" y="2276"/>
                  <a:pt x="12420" y="2284"/>
                  <a:pt x="12425" y="2303"/>
                </a:cubicBezTo>
                <a:cubicBezTo>
                  <a:pt x="12430" y="2322"/>
                  <a:pt x="12445" y="2322"/>
                  <a:pt x="12445" y="2322"/>
                </a:cubicBezTo>
                <a:cubicBezTo>
                  <a:pt x="12445" y="2322"/>
                  <a:pt x="12432" y="2348"/>
                  <a:pt x="12451" y="2345"/>
                </a:cubicBezTo>
                <a:cubicBezTo>
                  <a:pt x="12470" y="2342"/>
                  <a:pt x="12471" y="2326"/>
                  <a:pt x="12471" y="2326"/>
                </a:cubicBezTo>
                <a:cubicBezTo>
                  <a:pt x="12504" y="2311"/>
                  <a:pt x="12504" y="2311"/>
                  <a:pt x="12504" y="2311"/>
                </a:cubicBezTo>
                <a:cubicBezTo>
                  <a:pt x="12521" y="2316"/>
                  <a:pt x="12521" y="2316"/>
                  <a:pt x="12521" y="2316"/>
                </a:cubicBezTo>
                <a:cubicBezTo>
                  <a:pt x="12526" y="2304"/>
                  <a:pt x="12526" y="2304"/>
                  <a:pt x="12526" y="2304"/>
                </a:cubicBezTo>
                <a:cubicBezTo>
                  <a:pt x="12526" y="2304"/>
                  <a:pt x="12562" y="2307"/>
                  <a:pt x="12556" y="2288"/>
                </a:cubicBezTo>
                <a:cubicBezTo>
                  <a:pt x="12550" y="2269"/>
                  <a:pt x="12537" y="2255"/>
                  <a:pt x="12537" y="2255"/>
                </a:cubicBezTo>
                <a:cubicBezTo>
                  <a:pt x="12537" y="2255"/>
                  <a:pt x="12542" y="2238"/>
                  <a:pt x="12533" y="2224"/>
                </a:cubicBezTo>
                <a:cubicBezTo>
                  <a:pt x="12524" y="2210"/>
                  <a:pt x="12482" y="2173"/>
                  <a:pt x="12482" y="2173"/>
                </a:cubicBezTo>
                <a:cubicBezTo>
                  <a:pt x="12469" y="2168"/>
                  <a:pt x="12469" y="2168"/>
                  <a:pt x="12469" y="2168"/>
                </a:cubicBezTo>
                <a:cubicBezTo>
                  <a:pt x="12469" y="2168"/>
                  <a:pt x="12465" y="2157"/>
                  <a:pt x="12453" y="2144"/>
                </a:cubicBezTo>
                <a:cubicBezTo>
                  <a:pt x="12447" y="2137"/>
                  <a:pt x="12440" y="2129"/>
                  <a:pt x="12435" y="2123"/>
                </a:cubicBezTo>
                <a:cubicBezTo>
                  <a:pt x="12430" y="2116"/>
                  <a:pt x="12426" y="2111"/>
                  <a:pt x="12426" y="2111"/>
                </a:cubicBezTo>
                <a:cubicBezTo>
                  <a:pt x="12395" y="2094"/>
                  <a:pt x="12395" y="2094"/>
                  <a:pt x="12395" y="2094"/>
                </a:cubicBezTo>
                <a:cubicBezTo>
                  <a:pt x="12395" y="2094"/>
                  <a:pt x="12373" y="2102"/>
                  <a:pt x="12380" y="2089"/>
                </a:cubicBezTo>
                <a:cubicBezTo>
                  <a:pt x="12387" y="2076"/>
                  <a:pt x="12387" y="2076"/>
                  <a:pt x="12387" y="2076"/>
                </a:cubicBezTo>
                <a:cubicBezTo>
                  <a:pt x="12387" y="2076"/>
                  <a:pt x="12362" y="2065"/>
                  <a:pt x="12372" y="2054"/>
                </a:cubicBezTo>
                <a:cubicBezTo>
                  <a:pt x="12382" y="2043"/>
                  <a:pt x="12403" y="2047"/>
                  <a:pt x="12408" y="2033"/>
                </a:cubicBezTo>
                <a:cubicBezTo>
                  <a:pt x="12413" y="2019"/>
                  <a:pt x="12418" y="2004"/>
                  <a:pt x="12418" y="2004"/>
                </a:cubicBezTo>
                <a:cubicBezTo>
                  <a:pt x="12434" y="1996"/>
                  <a:pt x="12434" y="1996"/>
                  <a:pt x="12434" y="1996"/>
                </a:cubicBezTo>
                <a:cubicBezTo>
                  <a:pt x="12429" y="1975"/>
                  <a:pt x="12429" y="1975"/>
                  <a:pt x="12429" y="1975"/>
                </a:cubicBezTo>
                <a:cubicBezTo>
                  <a:pt x="12429" y="1975"/>
                  <a:pt x="12413" y="1964"/>
                  <a:pt x="12414" y="1947"/>
                </a:cubicBezTo>
                <a:cubicBezTo>
                  <a:pt x="12415" y="1930"/>
                  <a:pt x="12438" y="1925"/>
                  <a:pt x="12438" y="1925"/>
                </a:cubicBezTo>
                <a:cubicBezTo>
                  <a:pt x="12429" y="1910"/>
                  <a:pt x="12429" y="1910"/>
                  <a:pt x="12429" y="1910"/>
                </a:cubicBezTo>
                <a:cubicBezTo>
                  <a:pt x="12452" y="1911"/>
                  <a:pt x="12452" y="1911"/>
                  <a:pt x="12452" y="1911"/>
                </a:cubicBezTo>
                <a:cubicBezTo>
                  <a:pt x="12452" y="1911"/>
                  <a:pt x="12446" y="1870"/>
                  <a:pt x="12455" y="1866"/>
                </a:cubicBezTo>
                <a:cubicBezTo>
                  <a:pt x="12464" y="1862"/>
                  <a:pt x="12471" y="1875"/>
                  <a:pt x="12471" y="1875"/>
                </a:cubicBezTo>
                <a:cubicBezTo>
                  <a:pt x="12480" y="1867"/>
                  <a:pt x="12480" y="1867"/>
                  <a:pt x="12480" y="1867"/>
                </a:cubicBezTo>
                <a:cubicBezTo>
                  <a:pt x="12480" y="1867"/>
                  <a:pt x="12496" y="1899"/>
                  <a:pt x="12504" y="1897"/>
                </a:cubicBezTo>
                <a:cubicBezTo>
                  <a:pt x="12512" y="1895"/>
                  <a:pt x="12531" y="1889"/>
                  <a:pt x="12531" y="1889"/>
                </a:cubicBezTo>
                <a:cubicBezTo>
                  <a:pt x="12531" y="1901"/>
                  <a:pt x="12531" y="1901"/>
                  <a:pt x="12531" y="1901"/>
                </a:cubicBezTo>
                <a:cubicBezTo>
                  <a:pt x="12531" y="1901"/>
                  <a:pt x="12586" y="1881"/>
                  <a:pt x="12588" y="1861"/>
                </a:cubicBezTo>
                <a:cubicBezTo>
                  <a:pt x="12590" y="1841"/>
                  <a:pt x="12593" y="1813"/>
                  <a:pt x="12593" y="1813"/>
                </a:cubicBezTo>
                <a:cubicBezTo>
                  <a:pt x="12607" y="1806"/>
                  <a:pt x="12607" y="1806"/>
                  <a:pt x="12607" y="1806"/>
                </a:cubicBezTo>
                <a:cubicBezTo>
                  <a:pt x="12607" y="1806"/>
                  <a:pt x="12605" y="1763"/>
                  <a:pt x="12614" y="1756"/>
                </a:cubicBezTo>
                <a:cubicBezTo>
                  <a:pt x="12623" y="1749"/>
                  <a:pt x="12625" y="1725"/>
                  <a:pt x="12627" y="1709"/>
                </a:cubicBezTo>
                <a:cubicBezTo>
                  <a:pt x="12629" y="1693"/>
                  <a:pt x="12618" y="1666"/>
                  <a:pt x="12618" y="1666"/>
                </a:cubicBezTo>
                <a:cubicBezTo>
                  <a:pt x="12618" y="1666"/>
                  <a:pt x="12632" y="1644"/>
                  <a:pt x="12632" y="1639"/>
                </a:cubicBezTo>
                <a:cubicBezTo>
                  <a:pt x="12632" y="1634"/>
                  <a:pt x="12624" y="1624"/>
                  <a:pt x="12624" y="1624"/>
                </a:cubicBezTo>
                <a:cubicBezTo>
                  <a:pt x="12624" y="1624"/>
                  <a:pt x="12641" y="1600"/>
                  <a:pt x="12637" y="1591"/>
                </a:cubicBezTo>
                <a:cubicBezTo>
                  <a:pt x="12633" y="1582"/>
                  <a:pt x="12621" y="1555"/>
                  <a:pt x="12621" y="1555"/>
                </a:cubicBezTo>
                <a:cubicBezTo>
                  <a:pt x="12621" y="1555"/>
                  <a:pt x="12613" y="1527"/>
                  <a:pt x="12606" y="1524"/>
                </a:cubicBezTo>
                <a:cubicBezTo>
                  <a:pt x="12599" y="1521"/>
                  <a:pt x="12594" y="1517"/>
                  <a:pt x="12594" y="1517"/>
                </a:cubicBezTo>
                <a:cubicBezTo>
                  <a:pt x="12598" y="1510"/>
                  <a:pt x="12598" y="1510"/>
                  <a:pt x="12598" y="1510"/>
                </a:cubicBezTo>
                <a:cubicBezTo>
                  <a:pt x="12598" y="1510"/>
                  <a:pt x="12579" y="1502"/>
                  <a:pt x="12573" y="1487"/>
                </a:cubicBezTo>
                <a:cubicBezTo>
                  <a:pt x="12567" y="1472"/>
                  <a:pt x="12565" y="1460"/>
                  <a:pt x="12565" y="1460"/>
                </a:cubicBezTo>
                <a:cubicBezTo>
                  <a:pt x="12556" y="1454"/>
                  <a:pt x="12556" y="1454"/>
                  <a:pt x="12556" y="1454"/>
                </a:cubicBezTo>
                <a:cubicBezTo>
                  <a:pt x="12556" y="1454"/>
                  <a:pt x="12563" y="1424"/>
                  <a:pt x="12556" y="1415"/>
                </a:cubicBezTo>
                <a:cubicBezTo>
                  <a:pt x="12549" y="1406"/>
                  <a:pt x="12544" y="1399"/>
                  <a:pt x="12544" y="1399"/>
                </a:cubicBezTo>
                <a:cubicBezTo>
                  <a:pt x="12532" y="1395"/>
                  <a:pt x="12532" y="1395"/>
                  <a:pt x="12532" y="1395"/>
                </a:cubicBezTo>
                <a:cubicBezTo>
                  <a:pt x="12532" y="1395"/>
                  <a:pt x="12528" y="1381"/>
                  <a:pt x="12521" y="1376"/>
                </a:cubicBezTo>
                <a:cubicBezTo>
                  <a:pt x="12514" y="1371"/>
                  <a:pt x="12497" y="1363"/>
                  <a:pt x="12497" y="1363"/>
                </a:cubicBezTo>
                <a:cubicBezTo>
                  <a:pt x="12483" y="1359"/>
                  <a:pt x="12483" y="1359"/>
                  <a:pt x="12483" y="1359"/>
                </a:cubicBezTo>
                <a:cubicBezTo>
                  <a:pt x="12480" y="1350"/>
                  <a:pt x="12480" y="1350"/>
                  <a:pt x="12480" y="1350"/>
                </a:cubicBezTo>
                <a:cubicBezTo>
                  <a:pt x="12480" y="1350"/>
                  <a:pt x="12508" y="1363"/>
                  <a:pt x="12511" y="1357"/>
                </a:cubicBezTo>
                <a:cubicBezTo>
                  <a:pt x="12514" y="1351"/>
                  <a:pt x="12493" y="1345"/>
                  <a:pt x="12493" y="1345"/>
                </a:cubicBezTo>
                <a:cubicBezTo>
                  <a:pt x="12438" y="1319"/>
                  <a:pt x="12438" y="1319"/>
                  <a:pt x="12438" y="1319"/>
                </a:cubicBezTo>
                <a:cubicBezTo>
                  <a:pt x="12438" y="1319"/>
                  <a:pt x="12410" y="1302"/>
                  <a:pt x="12402" y="1297"/>
                </a:cubicBezTo>
                <a:cubicBezTo>
                  <a:pt x="12394" y="1292"/>
                  <a:pt x="12380" y="1302"/>
                  <a:pt x="12380" y="1302"/>
                </a:cubicBezTo>
                <a:cubicBezTo>
                  <a:pt x="12354" y="1295"/>
                  <a:pt x="12354" y="1295"/>
                  <a:pt x="12354" y="1295"/>
                </a:cubicBezTo>
                <a:cubicBezTo>
                  <a:pt x="12379" y="1323"/>
                  <a:pt x="12379" y="1323"/>
                  <a:pt x="12379" y="1323"/>
                </a:cubicBezTo>
                <a:cubicBezTo>
                  <a:pt x="12375" y="1340"/>
                  <a:pt x="12375" y="1340"/>
                  <a:pt x="12375" y="1340"/>
                </a:cubicBezTo>
                <a:cubicBezTo>
                  <a:pt x="12367" y="1338"/>
                  <a:pt x="12367" y="1338"/>
                  <a:pt x="12367" y="1338"/>
                </a:cubicBezTo>
                <a:cubicBezTo>
                  <a:pt x="12366" y="1318"/>
                  <a:pt x="12366" y="1318"/>
                  <a:pt x="12366" y="1318"/>
                </a:cubicBezTo>
                <a:cubicBezTo>
                  <a:pt x="12356" y="1311"/>
                  <a:pt x="12356" y="1311"/>
                  <a:pt x="12356" y="1311"/>
                </a:cubicBezTo>
                <a:cubicBezTo>
                  <a:pt x="12354" y="1330"/>
                  <a:pt x="12354" y="1330"/>
                  <a:pt x="12354" y="1330"/>
                </a:cubicBezTo>
                <a:cubicBezTo>
                  <a:pt x="12325" y="1332"/>
                  <a:pt x="12325" y="1332"/>
                  <a:pt x="12325" y="1332"/>
                </a:cubicBezTo>
                <a:cubicBezTo>
                  <a:pt x="12325" y="1332"/>
                  <a:pt x="12332" y="1322"/>
                  <a:pt x="12327" y="1316"/>
                </a:cubicBezTo>
                <a:cubicBezTo>
                  <a:pt x="12322" y="1310"/>
                  <a:pt x="12309" y="1312"/>
                  <a:pt x="12309" y="1312"/>
                </a:cubicBezTo>
                <a:cubicBezTo>
                  <a:pt x="12304" y="1319"/>
                  <a:pt x="12304" y="1319"/>
                  <a:pt x="12304" y="1319"/>
                </a:cubicBezTo>
                <a:cubicBezTo>
                  <a:pt x="12289" y="1320"/>
                  <a:pt x="12289" y="1320"/>
                  <a:pt x="12289" y="1320"/>
                </a:cubicBezTo>
                <a:cubicBezTo>
                  <a:pt x="12280" y="1295"/>
                  <a:pt x="12280" y="1295"/>
                  <a:pt x="12280" y="1295"/>
                </a:cubicBezTo>
                <a:cubicBezTo>
                  <a:pt x="12276" y="1294"/>
                  <a:pt x="12276" y="1294"/>
                  <a:pt x="12276" y="1294"/>
                </a:cubicBezTo>
                <a:cubicBezTo>
                  <a:pt x="12268" y="1281"/>
                  <a:pt x="12268" y="1281"/>
                  <a:pt x="12268" y="1281"/>
                </a:cubicBezTo>
                <a:cubicBezTo>
                  <a:pt x="12220" y="1283"/>
                  <a:pt x="12220" y="1283"/>
                  <a:pt x="12220" y="1283"/>
                </a:cubicBezTo>
                <a:cubicBezTo>
                  <a:pt x="12214" y="1277"/>
                  <a:pt x="12214" y="1277"/>
                  <a:pt x="12214" y="1277"/>
                </a:cubicBezTo>
                <a:cubicBezTo>
                  <a:pt x="12214" y="1277"/>
                  <a:pt x="12188" y="1281"/>
                  <a:pt x="12188" y="1264"/>
                </a:cubicBezTo>
                <a:cubicBezTo>
                  <a:pt x="12188" y="1247"/>
                  <a:pt x="12210" y="1245"/>
                  <a:pt x="12210" y="1245"/>
                </a:cubicBezTo>
                <a:cubicBezTo>
                  <a:pt x="12210" y="1229"/>
                  <a:pt x="12210" y="1229"/>
                  <a:pt x="12210" y="1229"/>
                </a:cubicBezTo>
                <a:cubicBezTo>
                  <a:pt x="12210" y="1229"/>
                  <a:pt x="12229" y="1228"/>
                  <a:pt x="12230" y="1217"/>
                </a:cubicBezTo>
                <a:cubicBezTo>
                  <a:pt x="12231" y="1206"/>
                  <a:pt x="12241" y="1191"/>
                  <a:pt x="12241" y="1191"/>
                </a:cubicBezTo>
                <a:cubicBezTo>
                  <a:pt x="12231" y="1182"/>
                  <a:pt x="12231" y="1182"/>
                  <a:pt x="12231" y="1182"/>
                </a:cubicBezTo>
                <a:cubicBezTo>
                  <a:pt x="12238" y="1169"/>
                  <a:pt x="12238" y="1169"/>
                  <a:pt x="12238" y="1169"/>
                </a:cubicBezTo>
                <a:cubicBezTo>
                  <a:pt x="12231" y="1159"/>
                  <a:pt x="12231" y="1159"/>
                  <a:pt x="12231" y="1159"/>
                </a:cubicBezTo>
                <a:cubicBezTo>
                  <a:pt x="12245" y="1148"/>
                  <a:pt x="12245" y="1148"/>
                  <a:pt x="12245" y="1148"/>
                </a:cubicBezTo>
                <a:cubicBezTo>
                  <a:pt x="12259" y="1145"/>
                  <a:pt x="12259" y="1145"/>
                  <a:pt x="12259" y="1145"/>
                </a:cubicBezTo>
                <a:cubicBezTo>
                  <a:pt x="12253" y="1123"/>
                  <a:pt x="12253" y="1123"/>
                  <a:pt x="12253" y="1123"/>
                </a:cubicBezTo>
                <a:cubicBezTo>
                  <a:pt x="12268" y="1118"/>
                  <a:pt x="12268" y="1118"/>
                  <a:pt x="12268" y="1118"/>
                </a:cubicBezTo>
                <a:cubicBezTo>
                  <a:pt x="12250" y="1095"/>
                  <a:pt x="12250" y="1095"/>
                  <a:pt x="12250" y="1095"/>
                </a:cubicBezTo>
                <a:cubicBezTo>
                  <a:pt x="12272" y="1086"/>
                  <a:pt x="12272" y="1086"/>
                  <a:pt x="12272" y="1086"/>
                </a:cubicBezTo>
                <a:cubicBezTo>
                  <a:pt x="12272" y="1086"/>
                  <a:pt x="12265" y="1056"/>
                  <a:pt x="12281" y="1046"/>
                </a:cubicBezTo>
                <a:cubicBezTo>
                  <a:pt x="12297" y="1036"/>
                  <a:pt x="12303" y="1035"/>
                  <a:pt x="12303" y="1035"/>
                </a:cubicBezTo>
                <a:cubicBezTo>
                  <a:pt x="12303" y="1035"/>
                  <a:pt x="12328" y="1039"/>
                  <a:pt x="12340" y="1038"/>
                </a:cubicBezTo>
                <a:cubicBezTo>
                  <a:pt x="12352" y="1037"/>
                  <a:pt x="12404" y="1041"/>
                  <a:pt x="12404" y="1041"/>
                </a:cubicBezTo>
                <a:cubicBezTo>
                  <a:pt x="12415" y="1052"/>
                  <a:pt x="12415" y="1052"/>
                  <a:pt x="12415" y="1052"/>
                </a:cubicBezTo>
                <a:cubicBezTo>
                  <a:pt x="12428" y="1047"/>
                  <a:pt x="12428" y="1047"/>
                  <a:pt x="12428" y="1047"/>
                </a:cubicBezTo>
                <a:cubicBezTo>
                  <a:pt x="12423" y="1035"/>
                  <a:pt x="12423" y="1035"/>
                  <a:pt x="12423" y="1035"/>
                </a:cubicBezTo>
                <a:cubicBezTo>
                  <a:pt x="12473" y="1048"/>
                  <a:pt x="12473" y="1048"/>
                  <a:pt x="12473" y="1048"/>
                </a:cubicBezTo>
                <a:cubicBezTo>
                  <a:pt x="12493" y="1036"/>
                  <a:pt x="12493" y="1036"/>
                  <a:pt x="12493" y="1036"/>
                </a:cubicBezTo>
                <a:cubicBezTo>
                  <a:pt x="12512" y="1051"/>
                  <a:pt x="12512" y="1051"/>
                  <a:pt x="12512" y="1051"/>
                </a:cubicBezTo>
                <a:cubicBezTo>
                  <a:pt x="12517" y="1027"/>
                  <a:pt x="12517" y="1027"/>
                  <a:pt x="12517" y="1027"/>
                </a:cubicBezTo>
                <a:cubicBezTo>
                  <a:pt x="12517" y="1027"/>
                  <a:pt x="12540" y="1025"/>
                  <a:pt x="12556" y="1026"/>
                </a:cubicBezTo>
                <a:cubicBezTo>
                  <a:pt x="12572" y="1027"/>
                  <a:pt x="12578" y="1041"/>
                  <a:pt x="12584" y="1039"/>
                </a:cubicBezTo>
                <a:cubicBezTo>
                  <a:pt x="12590" y="1037"/>
                  <a:pt x="12608" y="1026"/>
                  <a:pt x="12608" y="1026"/>
                </a:cubicBezTo>
                <a:cubicBezTo>
                  <a:pt x="12624" y="1040"/>
                  <a:pt x="12624" y="1040"/>
                  <a:pt x="12624" y="1040"/>
                </a:cubicBezTo>
                <a:cubicBezTo>
                  <a:pt x="12652" y="1045"/>
                  <a:pt x="12652" y="1045"/>
                  <a:pt x="12652" y="1045"/>
                </a:cubicBezTo>
                <a:cubicBezTo>
                  <a:pt x="12616" y="1052"/>
                  <a:pt x="12616" y="1052"/>
                  <a:pt x="12616" y="1052"/>
                </a:cubicBezTo>
                <a:cubicBezTo>
                  <a:pt x="12616" y="1052"/>
                  <a:pt x="12627" y="1073"/>
                  <a:pt x="12638" y="1068"/>
                </a:cubicBezTo>
                <a:cubicBezTo>
                  <a:pt x="12649" y="1063"/>
                  <a:pt x="12669" y="1055"/>
                  <a:pt x="12669" y="1055"/>
                </a:cubicBezTo>
                <a:cubicBezTo>
                  <a:pt x="12687" y="1064"/>
                  <a:pt x="12687" y="1064"/>
                  <a:pt x="12687" y="1064"/>
                </a:cubicBezTo>
                <a:cubicBezTo>
                  <a:pt x="12702" y="1052"/>
                  <a:pt x="12702" y="1052"/>
                  <a:pt x="12702" y="1052"/>
                </a:cubicBezTo>
                <a:cubicBezTo>
                  <a:pt x="12702" y="1052"/>
                  <a:pt x="12729" y="1061"/>
                  <a:pt x="12737" y="1057"/>
                </a:cubicBezTo>
                <a:cubicBezTo>
                  <a:pt x="12745" y="1053"/>
                  <a:pt x="12739" y="1045"/>
                  <a:pt x="12739" y="1045"/>
                </a:cubicBezTo>
                <a:cubicBezTo>
                  <a:pt x="12763" y="1047"/>
                  <a:pt x="12763" y="1047"/>
                  <a:pt x="12763" y="1047"/>
                </a:cubicBezTo>
                <a:cubicBezTo>
                  <a:pt x="12730" y="1029"/>
                  <a:pt x="12730" y="1029"/>
                  <a:pt x="12730" y="1029"/>
                </a:cubicBezTo>
                <a:cubicBezTo>
                  <a:pt x="12712" y="1036"/>
                  <a:pt x="12712" y="1036"/>
                  <a:pt x="12712" y="1036"/>
                </a:cubicBezTo>
                <a:cubicBezTo>
                  <a:pt x="12707" y="1024"/>
                  <a:pt x="12707" y="1024"/>
                  <a:pt x="12707" y="1024"/>
                </a:cubicBezTo>
                <a:cubicBezTo>
                  <a:pt x="12707" y="1024"/>
                  <a:pt x="12692" y="1001"/>
                  <a:pt x="12694" y="996"/>
                </a:cubicBezTo>
                <a:cubicBezTo>
                  <a:pt x="12696" y="991"/>
                  <a:pt x="12713" y="977"/>
                  <a:pt x="12713" y="977"/>
                </a:cubicBezTo>
                <a:cubicBezTo>
                  <a:pt x="12709" y="957"/>
                  <a:pt x="12709" y="957"/>
                  <a:pt x="12709" y="957"/>
                </a:cubicBezTo>
                <a:cubicBezTo>
                  <a:pt x="12718" y="949"/>
                  <a:pt x="12718" y="949"/>
                  <a:pt x="12718" y="949"/>
                </a:cubicBezTo>
                <a:cubicBezTo>
                  <a:pt x="12718" y="949"/>
                  <a:pt x="12692" y="936"/>
                  <a:pt x="12709" y="925"/>
                </a:cubicBezTo>
                <a:cubicBezTo>
                  <a:pt x="12726" y="914"/>
                  <a:pt x="12762" y="925"/>
                  <a:pt x="12762" y="925"/>
                </a:cubicBezTo>
                <a:cubicBezTo>
                  <a:pt x="12776" y="911"/>
                  <a:pt x="12776" y="911"/>
                  <a:pt x="12776" y="911"/>
                </a:cubicBezTo>
                <a:cubicBezTo>
                  <a:pt x="12798" y="930"/>
                  <a:pt x="12798" y="930"/>
                  <a:pt x="12798" y="930"/>
                </a:cubicBezTo>
                <a:cubicBezTo>
                  <a:pt x="12817" y="919"/>
                  <a:pt x="12817" y="919"/>
                  <a:pt x="12817" y="919"/>
                </a:cubicBezTo>
                <a:cubicBezTo>
                  <a:pt x="12817" y="919"/>
                  <a:pt x="12830" y="952"/>
                  <a:pt x="12837" y="955"/>
                </a:cubicBezTo>
                <a:cubicBezTo>
                  <a:pt x="12844" y="958"/>
                  <a:pt x="12865" y="954"/>
                  <a:pt x="12865" y="954"/>
                </a:cubicBezTo>
                <a:cubicBezTo>
                  <a:pt x="12865" y="954"/>
                  <a:pt x="12865" y="985"/>
                  <a:pt x="12876" y="981"/>
                </a:cubicBezTo>
                <a:cubicBezTo>
                  <a:pt x="12887" y="977"/>
                  <a:pt x="12902" y="937"/>
                  <a:pt x="12902" y="937"/>
                </a:cubicBezTo>
                <a:cubicBezTo>
                  <a:pt x="12918" y="928"/>
                  <a:pt x="12918" y="928"/>
                  <a:pt x="12918" y="928"/>
                </a:cubicBezTo>
                <a:cubicBezTo>
                  <a:pt x="12938" y="935"/>
                  <a:pt x="12938" y="935"/>
                  <a:pt x="12938" y="935"/>
                </a:cubicBezTo>
                <a:cubicBezTo>
                  <a:pt x="12937" y="926"/>
                  <a:pt x="12937" y="926"/>
                  <a:pt x="12937" y="926"/>
                </a:cubicBezTo>
                <a:cubicBezTo>
                  <a:pt x="12918" y="916"/>
                  <a:pt x="12918" y="916"/>
                  <a:pt x="12918" y="916"/>
                </a:cubicBezTo>
                <a:cubicBezTo>
                  <a:pt x="12918" y="916"/>
                  <a:pt x="12871" y="882"/>
                  <a:pt x="12882" y="881"/>
                </a:cubicBezTo>
                <a:cubicBezTo>
                  <a:pt x="12893" y="880"/>
                  <a:pt x="12947" y="882"/>
                  <a:pt x="12947" y="882"/>
                </a:cubicBezTo>
                <a:cubicBezTo>
                  <a:pt x="12981" y="882"/>
                  <a:pt x="12981" y="882"/>
                  <a:pt x="12981" y="882"/>
                </a:cubicBezTo>
                <a:cubicBezTo>
                  <a:pt x="12981" y="882"/>
                  <a:pt x="12984" y="896"/>
                  <a:pt x="12980" y="895"/>
                </a:cubicBezTo>
                <a:cubicBezTo>
                  <a:pt x="12976" y="894"/>
                  <a:pt x="12937" y="882"/>
                  <a:pt x="12939" y="896"/>
                </a:cubicBezTo>
                <a:cubicBezTo>
                  <a:pt x="12941" y="910"/>
                  <a:pt x="12964" y="923"/>
                  <a:pt x="12964" y="923"/>
                </a:cubicBezTo>
                <a:cubicBezTo>
                  <a:pt x="12966" y="940"/>
                  <a:pt x="12966" y="940"/>
                  <a:pt x="12966" y="940"/>
                </a:cubicBezTo>
                <a:cubicBezTo>
                  <a:pt x="12986" y="943"/>
                  <a:pt x="12986" y="943"/>
                  <a:pt x="12986" y="943"/>
                </a:cubicBezTo>
                <a:cubicBezTo>
                  <a:pt x="12982" y="956"/>
                  <a:pt x="12982" y="956"/>
                  <a:pt x="12982" y="956"/>
                </a:cubicBezTo>
                <a:cubicBezTo>
                  <a:pt x="12995" y="967"/>
                  <a:pt x="12995" y="967"/>
                  <a:pt x="12995" y="967"/>
                </a:cubicBezTo>
                <a:cubicBezTo>
                  <a:pt x="12977" y="970"/>
                  <a:pt x="12977" y="970"/>
                  <a:pt x="12977" y="970"/>
                </a:cubicBezTo>
                <a:cubicBezTo>
                  <a:pt x="12972" y="981"/>
                  <a:pt x="12972" y="981"/>
                  <a:pt x="12972" y="981"/>
                </a:cubicBezTo>
                <a:cubicBezTo>
                  <a:pt x="12960" y="985"/>
                  <a:pt x="12960" y="985"/>
                  <a:pt x="12960" y="985"/>
                </a:cubicBezTo>
                <a:cubicBezTo>
                  <a:pt x="12960" y="985"/>
                  <a:pt x="12973" y="1007"/>
                  <a:pt x="12966" y="1019"/>
                </a:cubicBezTo>
                <a:cubicBezTo>
                  <a:pt x="12959" y="1031"/>
                  <a:pt x="12948" y="1051"/>
                  <a:pt x="12948" y="1058"/>
                </a:cubicBezTo>
                <a:cubicBezTo>
                  <a:pt x="12948" y="1065"/>
                  <a:pt x="12966" y="1071"/>
                  <a:pt x="12953" y="1088"/>
                </a:cubicBezTo>
                <a:cubicBezTo>
                  <a:pt x="12940" y="1105"/>
                  <a:pt x="12918" y="1110"/>
                  <a:pt x="12918" y="1110"/>
                </a:cubicBezTo>
                <a:cubicBezTo>
                  <a:pt x="12921" y="1122"/>
                  <a:pt x="12921" y="1122"/>
                  <a:pt x="12921" y="1122"/>
                </a:cubicBezTo>
                <a:cubicBezTo>
                  <a:pt x="12908" y="1122"/>
                  <a:pt x="12908" y="1122"/>
                  <a:pt x="12908" y="1122"/>
                </a:cubicBezTo>
                <a:cubicBezTo>
                  <a:pt x="12908" y="1122"/>
                  <a:pt x="12932" y="1132"/>
                  <a:pt x="12930" y="1149"/>
                </a:cubicBezTo>
                <a:cubicBezTo>
                  <a:pt x="12928" y="1166"/>
                  <a:pt x="12921" y="1177"/>
                  <a:pt x="12928" y="1194"/>
                </a:cubicBezTo>
                <a:cubicBezTo>
                  <a:pt x="12935" y="1211"/>
                  <a:pt x="13000" y="1265"/>
                  <a:pt x="13000" y="1265"/>
                </a:cubicBezTo>
                <a:cubicBezTo>
                  <a:pt x="13040" y="1306"/>
                  <a:pt x="13040" y="1306"/>
                  <a:pt x="13040" y="1306"/>
                </a:cubicBezTo>
                <a:cubicBezTo>
                  <a:pt x="13049" y="1303"/>
                  <a:pt x="13049" y="1303"/>
                  <a:pt x="13049" y="1303"/>
                </a:cubicBezTo>
                <a:cubicBezTo>
                  <a:pt x="13102" y="1367"/>
                  <a:pt x="13102" y="1367"/>
                  <a:pt x="13102" y="1367"/>
                </a:cubicBezTo>
                <a:cubicBezTo>
                  <a:pt x="13137" y="1378"/>
                  <a:pt x="13137" y="1378"/>
                  <a:pt x="13137" y="1378"/>
                </a:cubicBezTo>
                <a:cubicBezTo>
                  <a:pt x="13152" y="1396"/>
                  <a:pt x="13152" y="1396"/>
                  <a:pt x="13152" y="1396"/>
                </a:cubicBezTo>
                <a:cubicBezTo>
                  <a:pt x="13152" y="1396"/>
                  <a:pt x="13191" y="1444"/>
                  <a:pt x="13198" y="1448"/>
                </a:cubicBezTo>
                <a:cubicBezTo>
                  <a:pt x="13205" y="1452"/>
                  <a:pt x="13216" y="1452"/>
                  <a:pt x="13216" y="1452"/>
                </a:cubicBezTo>
                <a:cubicBezTo>
                  <a:pt x="13216" y="1452"/>
                  <a:pt x="13210" y="1470"/>
                  <a:pt x="13225" y="1464"/>
                </a:cubicBezTo>
                <a:cubicBezTo>
                  <a:pt x="13240" y="1458"/>
                  <a:pt x="13238" y="1445"/>
                  <a:pt x="13238" y="1445"/>
                </a:cubicBezTo>
                <a:cubicBezTo>
                  <a:pt x="13231" y="1437"/>
                  <a:pt x="13231" y="1437"/>
                  <a:pt x="13231" y="1437"/>
                </a:cubicBezTo>
                <a:cubicBezTo>
                  <a:pt x="13231" y="1437"/>
                  <a:pt x="13246" y="1417"/>
                  <a:pt x="13243" y="1408"/>
                </a:cubicBezTo>
                <a:cubicBezTo>
                  <a:pt x="13240" y="1399"/>
                  <a:pt x="13209" y="1382"/>
                  <a:pt x="13216" y="1369"/>
                </a:cubicBezTo>
                <a:cubicBezTo>
                  <a:pt x="13223" y="1356"/>
                  <a:pt x="13232" y="1348"/>
                  <a:pt x="13235" y="1347"/>
                </a:cubicBezTo>
                <a:cubicBezTo>
                  <a:pt x="13238" y="1346"/>
                  <a:pt x="13258" y="1354"/>
                  <a:pt x="13258" y="1354"/>
                </a:cubicBezTo>
                <a:cubicBezTo>
                  <a:pt x="13258" y="1354"/>
                  <a:pt x="13236" y="1328"/>
                  <a:pt x="13230" y="1324"/>
                </a:cubicBezTo>
                <a:cubicBezTo>
                  <a:pt x="13224" y="1320"/>
                  <a:pt x="13209" y="1314"/>
                  <a:pt x="13212" y="1299"/>
                </a:cubicBezTo>
                <a:cubicBezTo>
                  <a:pt x="13215" y="1284"/>
                  <a:pt x="13233" y="1279"/>
                  <a:pt x="13233" y="1279"/>
                </a:cubicBezTo>
                <a:cubicBezTo>
                  <a:pt x="13233" y="1279"/>
                  <a:pt x="13262" y="1291"/>
                  <a:pt x="13260" y="1276"/>
                </a:cubicBezTo>
                <a:cubicBezTo>
                  <a:pt x="13258" y="1261"/>
                  <a:pt x="13245" y="1257"/>
                  <a:pt x="13229" y="1249"/>
                </a:cubicBezTo>
                <a:cubicBezTo>
                  <a:pt x="13213" y="1241"/>
                  <a:pt x="13199" y="1222"/>
                  <a:pt x="13198" y="1211"/>
                </a:cubicBezTo>
                <a:cubicBezTo>
                  <a:pt x="13197" y="1200"/>
                  <a:pt x="13191" y="1188"/>
                  <a:pt x="13191" y="1188"/>
                </a:cubicBezTo>
                <a:cubicBezTo>
                  <a:pt x="13198" y="1185"/>
                  <a:pt x="13198" y="1185"/>
                  <a:pt x="13198" y="1185"/>
                </a:cubicBezTo>
                <a:cubicBezTo>
                  <a:pt x="13198" y="1185"/>
                  <a:pt x="13224" y="1210"/>
                  <a:pt x="13230" y="1205"/>
                </a:cubicBezTo>
                <a:cubicBezTo>
                  <a:pt x="13236" y="1200"/>
                  <a:pt x="13212" y="1173"/>
                  <a:pt x="13212" y="1173"/>
                </a:cubicBezTo>
                <a:cubicBezTo>
                  <a:pt x="13189" y="1170"/>
                  <a:pt x="13189" y="1170"/>
                  <a:pt x="13189" y="1170"/>
                </a:cubicBezTo>
                <a:cubicBezTo>
                  <a:pt x="13156" y="1142"/>
                  <a:pt x="13156" y="1142"/>
                  <a:pt x="13156" y="1142"/>
                </a:cubicBezTo>
                <a:cubicBezTo>
                  <a:pt x="13156" y="1142"/>
                  <a:pt x="13160" y="1121"/>
                  <a:pt x="13144" y="1114"/>
                </a:cubicBezTo>
                <a:cubicBezTo>
                  <a:pt x="13128" y="1107"/>
                  <a:pt x="13116" y="1107"/>
                  <a:pt x="13116" y="1107"/>
                </a:cubicBezTo>
                <a:cubicBezTo>
                  <a:pt x="13117" y="1119"/>
                  <a:pt x="13117" y="1119"/>
                  <a:pt x="13117" y="1119"/>
                </a:cubicBezTo>
                <a:cubicBezTo>
                  <a:pt x="13117" y="1119"/>
                  <a:pt x="13073" y="1109"/>
                  <a:pt x="13072" y="1093"/>
                </a:cubicBezTo>
                <a:cubicBezTo>
                  <a:pt x="13071" y="1077"/>
                  <a:pt x="13079" y="1066"/>
                  <a:pt x="13071" y="1051"/>
                </a:cubicBezTo>
                <a:cubicBezTo>
                  <a:pt x="13063" y="1036"/>
                  <a:pt x="13047" y="1028"/>
                  <a:pt x="13047" y="1028"/>
                </a:cubicBezTo>
                <a:cubicBezTo>
                  <a:pt x="13047" y="1028"/>
                  <a:pt x="13049" y="1012"/>
                  <a:pt x="13053" y="1010"/>
                </a:cubicBezTo>
                <a:cubicBezTo>
                  <a:pt x="13057" y="1008"/>
                  <a:pt x="13066" y="1015"/>
                  <a:pt x="13066" y="1015"/>
                </a:cubicBezTo>
                <a:cubicBezTo>
                  <a:pt x="13075" y="1004"/>
                  <a:pt x="13075" y="1004"/>
                  <a:pt x="13075" y="1004"/>
                </a:cubicBezTo>
                <a:cubicBezTo>
                  <a:pt x="13100" y="1023"/>
                  <a:pt x="13100" y="1023"/>
                  <a:pt x="13100" y="1023"/>
                </a:cubicBezTo>
                <a:cubicBezTo>
                  <a:pt x="13105" y="1018"/>
                  <a:pt x="13105" y="1018"/>
                  <a:pt x="13105" y="1018"/>
                </a:cubicBezTo>
                <a:cubicBezTo>
                  <a:pt x="13097" y="1010"/>
                  <a:pt x="13097" y="1010"/>
                  <a:pt x="13097" y="1010"/>
                </a:cubicBezTo>
                <a:cubicBezTo>
                  <a:pt x="13097" y="1010"/>
                  <a:pt x="13103" y="978"/>
                  <a:pt x="13114" y="984"/>
                </a:cubicBezTo>
                <a:cubicBezTo>
                  <a:pt x="13125" y="990"/>
                  <a:pt x="13152" y="1023"/>
                  <a:pt x="13152" y="1023"/>
                </a:cubicBezTo>
                <a:cubicBezTo>
                  <a:pt x="13159" y="990"/>
                  <a:pt x="13159" y="990"/>
                  <a:pt x="13159" y="990"/>
                </a:cubicBezTo>
                <a:cubicBezTo>
                  <a:pt x="13159" y="990"/>
                  <a:pt x="13216" y="983"/>
                  <a:pt x="13225" y="983"/>
                </a:cubicBezTo>
                <a:cubicBezTo>
                  <a:pt x="13234" y="983"/>
                  <a:pt x="13271" y="1003"/>
                  <a:pt x="13271" y="1003"/>
                </a:cubicBezTo>
                <a:cubicBezTo>
                  <a:pt x="13299" y="1014"/>
                  <a:pt x="13299" y="1014"/>
                  <a:pt x="13299" y="1014"/>
                </a:cubicBezTo>
                <a:cubicBezTo>
                  <a:pt x="13279" y="974"/>
                  <a:pt x="13279" y="974"/>
                  <a:pt x="13279" y="974"/>
                </a:cubicBezTo>
                <a:cubicBezTo>
                  <a:pt x="13279" y="974"/>
                  <a:pt x="13311" y="975"/>
                  <a:pt x="13313" y="964"/>
                </a:cubicBezTo>
                <a:cubicBezTo>
                  <a:pt x="13315" y="953"/>
                  <a:pt x="13305" y="935"/>
                  <a:pt x="13305" y="935"/>
                </a:cubicBezTo>
                <a:cubicBezTo>
                  <a:pt x="13318" y="936"/>
                  <a:pt x="13318" y="936"/>
                  <a:pt x="13318" y="936"/>
                </a:cubicBezTo>
                <a:cubicBezTo>
                  <a:pt x="13321" y="920"/>
                  <a:pt x="13321" y="920"/>
                  <a:pt x="13321" y="920"/>
                </a:cubicBezTo>
                <a:cubicBezTo>
                  <a:pt x="13321" y="920"/>
                  <a:pt x="13360" y="929"/>
                  <a:pt x="13366" y="914"/>
                </a:cubicBezTo>
                <a:cubicBezTo>
                  <a:pt x="13372" y="899"/>
                  <a:pt x="13392" y="887"/>
                  <a:pt x="13392" y="887"/>
                </a:cubicBezTo>
                <a:cubicBezTo>
                  <a:pt x="13378" y="870"/>
                  <a:pt x="13378" y="870"/>
                  <a:pt x="13378" y="870"/>
                </a:cubicBezTo>
                <a:cubicBezTo>
                  <a:pt x="13399" y="872"/>
                  <a:pt x="13399" y="872"/>
                  <a:pt x="13399" y="872"/>
                </a:cubicBezTo>
                <a:cubicBezTo>
                  <a:pt x="13402" y="884"/>
                  <a:pt x="13402" y="884"/>
                  <a:pt x="13402" y="884"/>
                </a:cubicBezTo>
                <a:cubicBezTo>
                  <a:pt x="13443" y="887"/>
                  <a:pt x="13443" y="887"/>
                  <a:pt x="13443" y="887"/>
                </a:cubicBezTo>
                <a:cubicBezTo>
                  <a:pt x="13443" y="887"/>
                  <a:pt x="13485" y="897"/>
                  <a:pt x="13485" y="891"/>
                </a:cubicBezTo>
                <a:cubicBezTo>
                  <a:pt x="13485" y="885"/>
                  <a:pt x="13481" y="873"/>
                  <a:pt x="13481" y="873"/>
                </a:cubicBezTo>
                <a:cubicBezTo>
                  <a:pt x="13456" y="870"/>
                  <a:pt x="13456" y="870"/>
                  <a:pt x="13456" y="870"/>
                </a:cubicBezTo>
                <a:cubicBezTo>
                  <a:pt x="13452" y="856"/>
                  <a:pt x="13452" y="856"/>
                  <a:pt x="13452" y="856"/>
                </a:cubicBezTo>
                <a:cubicBezTo>
                  <a:pt x="13452" y="856"/>
                  <a:pt x="13415" y="843"/>
                  <a:pt x="13403" y="839"/>
                </a:cubicBezTo>
                <a:cubicBezTo>
                  <a:pt x="13391" y="835"/>
                  <a:pt x="13382" y="841"/>
                  <a:pt x="13382" y="841"/>
                </a:cubicBezTo>
                <a:cubicBezTo>
                  <a:pt x="13386" y="829"/>
                  <a:pt x="13386" y="829"/>
                  <a:pt x="13386" y="829"/>
                </a:cubicBezTo>
                <a:cubicBezTo>
                  <a:pt x="13338" y="795"/>
                  <a:pt x="13338" y="795"/>
                  <a:pt x="13338" y="795"/>
                </a:cubicBezTo>
                <a:cubicBezTo>
                  <a:pt x="13327" y="806"/>
                  <a:pt x="13327" y="806"/>
                  <a:pt x="13327" y="806"/>
                </a:cubicBezTo>
                <a:cubicBezTo>
                  <a:pt x="13327" y="806"/>
                  <a:pt x="13307" y="801"/>
                  <a:pt x="13299" y="798"/>
                </a:cubicBezTo>
                <a:cubicBezTo>
                  <a:pt x="13291" y="795"/>
                  <a:pt x="13280" y="786"/>
                  <a:pt x="13280" y="786"/>
                </a:cubicBezTo>
                <a:cubicBezTo>
                  <a:pt x="13257" y="791"/>
                  <a:pt x="13257" y="791"/>
                  <a:pt x="13257" y="791"/>
                </a:cubicBezTo>
                <a:cubicBezTo>
                  <a:pt x="13238" y="789"/>
                  <a:pt x="13238" y="789"/>
                  <a:pt x="13238" y="789"/>
                </a:cubicBezTo>
                <a:cubicBezTo>
                  <a:pt x="13238" y="789"/>
                  <a:pt x="13207" y="771"/>
                  <a:pt x="13219" y="768"/>
                </a:cubicBezTo>
                <a:cubicBezTo>
                  <a:pt x="13231" y="765"/>
                  <a:pt x="13243" y="772"/>
                  <a:pt x="13252" y="774"/>
                </a:cubicBezTo>
                <a:cubicBezTo>
                  <a:pt x="13261" y="776"/>
                  <a:pt x="13305" y="783"/>
                  <a:pt x="13305" y="783"/>
                </a:cubicBezTo>
                <a:cubicBezTo>
                  <a:pt x="13305" y="783"/>
                  <a:pt x="13357" y="768"/>
                  <a:pt x="13357" y="761"/>
                </a:cubicBezTo>
                <a:cubicBezTo>
                  <a:pt x="13357" y="754"/>
                  <a:pt x="13327" y="738"/>
                  <a:pt x="13324" y="736"/>
                </a:cubicBezTo>
                <a:cubicBezTo>
                  <a:pt x="13321" y="734"/>
                  <a:pt x="13272" y="717"/>
                  <a:pt x="13287" y="708"/>
                </a:cubicBezTo>
                <a:cubicBezTo>
                  <a:pt x="13302" y="699"/>
                  <a:pt x="13327" y="719"/>
                  <a:pt x="13327" y="719"/>
                </a:cubicBezTo>
                <a:cubicBezTo>
                  <a:pt x="13327" y="719"/>
                  <a:pt x="13374" y="748"/>
                  <a:pt x="13388" y="746"/>
                </a:cubicBezTo>
                <a:cubicBezTo>
                  <a:pt x="13402" y="744"/>
                  <a:pt x="13407" y="730"/>
                  <a:pt x="13446" y="743"/>
                </a:cubicBezTo>
                <a:cubicBezTo>
                  <a:pt x="13485" y="756"/>
                  <a:pt x="13519" y="770"/>
                  <a:pt x="13530" y="772"/>
                </a:cubicBezTo>
                <a:cubicBezTo>
                  <a:pt x="13541" y="774"/>
                  <a:pt x="13584" y="786"/>
                  <a:pt x="13584" y="786"/>
                </a:cubicBezTo>
                <a:cubicBezTo>
                  <a:pt x="13584" y="786"/>
                  <a:pt x="13643" y="821"/>
                  <a:pt x="13639" y="803"/>
                </a:cubicBezTo>
                <a:cubicBezTo>
                  <a:pt x="13635" y="785"/>
                  <a:pt x="13615" y="774"/>
                  <a:pt x="13615" y="774"/>
                </a:cubicBezTo>
                <a:cubicBezTo>
                  <a:pt x="13627" y="765"/>
                  <a:pt x="13627" y="765"/>
                  <a:pt x="13627" y="765"/>
                </a:cubicBezTo>
                <a:cubicBezTo>
                  <a:pt x="13597" y="752"/>
                  <a:pt x="13597" y="752"/>
                  <a:pt x="13597" y="752"/>
                </a:cubicBezTo>
                <a:cubicBezTo>
                  <a:pt x="13603" y="748"/>
                  <a:pt x="13603" y="748"/>
                  <a:pt x="13603" y="748"/>
                </a:cubicBezTo>
                <a:cubicBezTo>
                  <a:pt x="13570" y="731"/>
                  <a:pt x="13570" y="731"/>
                  <a:pt x="13570" y="731"/>
                </a:cubicBezTo>
                <a:cubicBezTo>
                  <a:pt x="13606" y="738"/>
                  <a:pt x="13606" y="738"/>
                  <a:pt x="13606" y="738"/>
                </a:cubicBezTo>
                <a:cubicBezTo>
                  <a:pt x="13602" y="725"/>
                  <a:pt x="13602" y="725"/>
                  <a:pt x="13602" y="725"/>
                </a:cubicBezTo>
                <a:cubicBezTo>
                  <a:pt x="13602" y="725"/>
                  <a:pt x="13653" y="737"/>
                  <a:pt x="13642" y="723"/>
                </a:cubicBezTo>
                <a:cubicBezTo>
                  <a:pt x="13631" y="709"/>
                  <a:pt x="13601" y="704"/>
                  <a:pt x="13601" y="704"/>
                </a:cubicBezTo>
                <a:cubicBezTo>
                  <a:pt x="13570" y="690"/>
                  <a:pt x="13570" y="690"/>
                  <a:pt x="13570" y="690"/>
                </a:cubicBezTo>
                <a:cubicBezTo>
                  <a:pt x="13543" y="691"/>
                  <a:pt x="13543" y="691"/>
                  <a:pt x="13543" y="691"/>
                </a:cubicBezTo>
                <a:cubicBezTo>
                  <a:pt x="13523" y="678"/>
                  <a:pt x="13523" y="678"/>
                  <a:pt x="13523" y="678"/>
                </a:cubicBezTo>
                <a:cubicBezTo>
                  <a:pt x="13462" y="674"/>
                  <a:pt x="13462" y="674"/>
                  <a:pt x="13462" y="674"/>
                </a:cubicBezTo>
                <a:cubicBezTo>
                  <a:pt x="13437" y="662"/>
                  <a:pt x="13437" y="662"/>
                  <a:pt x="13437" y="662"/>
                </a:cubicBezTo>
                <a:cubicBezTo>
                  <a:pt x="13413" y="664"/>
                  <a:pt x="13413" y="664"/>
                  <a:pt x="13413" y="664"/>
                </a:cubicBezTo>
                <a:cubicBezTo>
                  <a:pt x="13446" y="689"/>
                  <a:pt x="13446" y="689"/>
                  <a:pt x="13446" y="689"/>
                </a:cubicBezTo>
                <a:cubicBezTo>
                  <a:pt x="13482" y="705"/>
                  <a:pt x="13482" y="705"/>
                  <a:pt x="13482" y="705"/>
                </a:cubicBezTo>
                <a:cubicBezTo>
                  <a:pt x="13482" y="705"/>
                  <a:pt x="13442" y="711"/>
                  <a:pt x="13430" y="701"/>
                </a:cubicBezTo>
                <a:cubicBezTo>
                  <a:pt x="13418" y="691"/>
                  <a:pt x="13417" y="669"/>
                  <a:pt x="13364" y="651"/>
                </a:cubicBezTo>
                <a:cubicBezTo>
                  <a:pt x="13311" y="633"/>
                  <a:pt x="13295" y="626"/>
                  <a:pt x="13241" y="617"/>
                </a:cubicBezTo>
                <a:cubicBezTo>
                  <a:pt x="13187" y="608"/>
                  <a:pt x="13074" y="582"/>
                  <a:pt x="13020" y="569"/>
                </a:cubicBezTo>
                <a:cubicBezTo>
                  <a:pt x="12966" y="556"/>
                  <a:pt x="12905" y="547"/>
                  <a:pt x="12905" y="547"/>
                </a:cubicBezTo>
                <a:cubicBezTo>
                  <a:pt x="12783" y="549"/>
                  <a:pt x="12783" y="549"/>
                  <a:pt x="12783" y="549"/>
                </a:cubicBezTo>
                <a:cubicBezTo>
                  <a:pt x="12774" y="537"/>
                  <a:pt x="12774" y="537"/>
                  <a:pt x="12774" y="537"/>
                </a:cubicBezTo>
                <a:cubicBezTo>
                  <a:pt x="12743" y="539"/>
                  <a:pt x="12743" y="539"/>
                  <a:pt x="12743" y="539"/>
                </a:cubicBezTo>
                <a:cubicBezTo>
                  <a:pt x="12732" y="531"/>
                  <a:pt x="12732" y="531"/>
                  <a:pt x="12732" y="531"/>
                </a:cubicBezTo>
                <a:cubicBezTo>
                  <a:pt x="12696" y="530"/>
                  <a:pt x="12696" y="530"/>
                  <a:pt x="12696" y="530"/>
                </a:cubicBezTo>
                <a:cubicBezTo>
                  <a:pt x="12713" y="542"/>
                  <a:pt x="12713" y="542"/>
                  <a:pt x="12713" y="542"/>
                </a:cubicBezTo>
                <a:cubicBezTo>
                  <a:pt x="12708" y="556"/>
                  <a:pt x="12708" y="556"/>
                  <a:pt x="12708" y="556"/>
                </a:cubicBezTo>
                <a:cubicBezTo>
                  <a:pt x="12708" y="556"/>
                  <a:pt x="12807" y="579"/>
                  <a:pt x="12778" y="592"/>
                </a:cubicBezTo>
                <a:cubicBezTo>
                  <a:pt x="12749" y="605"/>
                  <a:pt x="12731" y="588"/>
                  <a:pt x="12731" y="588"/>
                </a:cubicBezTo>
                <a:cubicBezTo>
                  <a:pt x="12714" y="574"/>
                  <a:pt x="12714" y="574"/>
                  <a:pt x="12714" y="574"/>
                </a:cubicBezTo>
                <a:cubicBezTo>
                  <a:pt x="12669" y="574"/>
                  <a:pt x="12669" y="574"/>
                  <a:pt x="12669" y="574"/>
                </a:cubicBezTo>
                <a:cubicBezTo>
                  <a:pt x="12632" y="551"/>
                  <a:pt x="12632" y="551"/>
                  <a:pt x="12632" y="551"/>
                </a:cubicBezTo>
                <a:cubicBezTo>
                  <a:pt x="12632" y="551"/>
                  <a:pt x="12614" y="555"/>
                  <a:pt x="12610" y="558"/>
                </a:cubicBezTo>
                <a:cubicBezTo>
                  <a:pt x="12606" y="561"/>
                  <a:pt x="12574" y="560"/>
                  <a:pt x="12574" y="560"/>
                </a:cubicBezTo>
                <a:cubicBezTo>
                  <a:pt x="12570" y="552"/>
                  <a:pt x="12570" y="552"/>
                  <a:pt x="12570" y="552"/>
                </a:cubicBezTo>
                <a:cubicBezTo>
                  <a:pt x="12508" y="555"/>
                  <a:pt x="12508" y="555"/>
                  <a:pt x="12508" y="555"/>
                </a:cubicBezTo>
                <a:cubicBezTo>
                  <a:pt x="12492" y="543"/>
                  <a:pt x="12492" y="543"/>
                  <a:pt x="12492" y="543"/>
                </a:cubicBezTo>
                <a:cubicBezTo>
                  <a:pt x="12487" y="549"/>
                  <a:pt x="12487" y="549"/>
                  <a:pt x="12487" y="549"/>
                </a:cubicBezTo>
                <a:cubicBezTo>
                  <a:pt x="12487" y="549"/>
                  <a:pt x="12409" y="542"/>
                  <a:pt x="12414" y="552"/>
                </a:cubicBezTo>
                <a:cubicBezTo>
                  <a:pt x="12419" y="562"/>
                  <a:pt x="12448" y="586"/>
                  <a:pt x="12448" y="586"/>
                </a:cubicBezTo>
                <a:cubicBezTo>
                  <a:pt x="12448" y="586"/>
                  <a:pt x="12412" y="565"/>
                  <a:pt x="12407" y="560"/>
                </a:cubicBezTo>
                <a:cubicBezTo>
                  <a:pt x="12402" y="555"/>
                  <a:pt x="12336" y="547"/>
                  <a:pt x="12336" y="547"/>
                </a:cubicBezTo>
                <a:cubicBezTo>
                  <a:pt x="12336" y="547"/>
                  <a:pt x="12326" y="529"/>
                  <a:pt x="12301" y="516"/>
                </a:cubicBezTo>
                <a:cubicBezTo>
                  <a:pt x="12276" y="503"/>
                  <a:pt x="12238" y="497"/>
                  <a:pt x="12221" y="496"/>
                </a:cubicBezTo>
                <a:cubicBezTo>
                  <a:pt x="12204" y="495"/>
                  <a:pt x="12169" y="491"/>
                  <a:pt x="12169" y="491"/>
                </a:cubicBezTo>
                <a:cubicBezTo>
                  <a:pt x="12135" y="484"/>
                  <a:pt x="12135" y="484"/>
                  <a:pt x="12135" y="484"/>
                </a:cubicBezTo>
                <a:cubicBezTo>
                  <a:pt x="12126" y="488"/>
                  <a:pt x="12126" y="488"/>
                  <a:pt x="12126" y="488"/>
                </a:cubicBezTo>
                <a:cubicBezTo>
                  <a:pt x="12086" y="486"/>
                  <a:pt x="12086" y="486"/>
                  <a:pt x="12086" y="486"/>
                </a:cubicBezTo>
                <a:cubicBezTo>
                  <a:pt x="12086" y="486"/>
                  <a:pt x="12081" y="506"/>
                  <a:pt x="12059" y="503"/>
                </a:cubicBezTo>
                <a:cubicBezTo>
                  <a:pt x="12037" y="500"/>
                  <a:pt x="12008" y="498"/>
                  <a:pt x="12008" y="498"/>
                </a:cubicBezTo>
                <a:cubicBezTo>
                  <a:pt x="12008" y="498"/>
                  <a:pt x="11978" y="478"/>
                  <a:pt x="11961" y="477"/>
                </a:cubicBezTo>
                <a:cubicBezTo>
                  <a:pt x="11944" y="476"/>
                  <a:pt x="11935" y="479"/>
                  <a:pt x="11935" y="479"/>
                </a:cubicBezTo>
                <a:cubicBezTo>
                  <a:pt x="11929" y="468"/>
                  <a:pt x="11929" y="468"/>
                  <a:pt x="11929" y="468"/>
                </a:cubicBezTo>
                <a:cubicBezTo>
                  <a:pt x="11904" y="466"/>
                  <a:pt x="11904" y="466"/>
                  <a:pt x="11904" y="466"/>
                </a:cubicBezTo>
                <a:cubicBezTo>
                  <a:pt x="11861" y="462"/>
                  <a:pt x="11861" y="462"/>
                  <a:pt x="11861" y="462"/>
                </a:cubicBezTo>
                <a:cubicBezTo>
                  <a:pt x="11885" y="454"/>
                  <a:pt x="11885" y="454"/>
                  <a:pt x="11885" y="454"/>
                </a:cubicBezTo>
                <a:cubicBezTo>
                  <a:pt x="11859" y="441"/>
                  <a:pt x="11859" y="441"/>
                  <a:pt x="11859" y="441"/>
                </a:cubicBezTo>
                <a:cubicBezTo>
                  <a:pt x="11859" y="441"/>
                  <a:pt x="11766" y="428"/>
                  <a:pt x="11763" y="434"/>
                </a:cubicBezTo>
                <a:cubicBezTo>
                  <a:pt x="11760" y="440"/>
                  <a:pt x="11772" y="459"/>
                  <a:pt x="11757" y="460"/>
                </a:cubicBezTo>
                <a:cubicBezTo>
                  <a:pt x="11742" y="461"/>
                  <a:pt x="11722" y="457"/>
                  <a:pt x="11722" y="457"/>
                </a:cubicBezTo>
                <a:cubicBezTo>
                  <a:pt x="11734" y="449"/>
                  <a:pt x="11734" y="449"/>
                  <a:pt x="11734" y="449"/>
                </a:cubicBezTo>
                <a:cubicBezTo>
                  <a:pt x="11724" y="439"/>
                  <a:pt x="11724" y="439"/>
                  <a:pt x="11724" y="439"/>
                </a:cubicBezTo>
                <a:cubicBezTo>
                  <a:pt x="11724" y="439"/>
                  <a:pt x="11718" y="439"/>
                  <a:pt x="11704" y="441"/>
                </a:cubicBezTo>
                <a:cubicBezTo>
                  <a:pt x="11690" y="443"/>
                  <a:pt x="11676" y="438"/>
                  <a:pt x="11676" y="438"/>
                </a:cubicBezTo>
                <a:cubicBezTo>
                  <a:pt x="11687" y="433"/>
                  <a:pt x="11687" y="433"/>
                  <a:pt x="11687" y="433"/>
                </a:cubicBezTo>
                <a:cubicBezTo>
                  <a:pt x="11717" y="430"/>
                  <a:pt x="11717" y="430"/>
                  <a:pt x="11717" y="430"/>
                </a:cubicBezTo>
                <a:cubicBezTo>
                  <a:pt x="11755" y="453"/>
                  <a:pt x="11755" y="453"/>
                  <a:pt x="11755" y="453"/>
                </a:cubicBezTo>
                <a:cubicBezTo>
                  <a:pt x="11757" y="434"/>
                  <a:pt x="11757" y="434"/>
                  <a:pt x="11757" y="434"/>
                </a:cubicBezTo>
                <a:cubicBezTo>
                  <a:pt x="11718" y="421"/>
                  <a:pt x="11718" y="421"/>
                  <a:pt x="11718" y="421"/>
                </a:cubicBezTo>
                <a:cubicBezTo>
                  <a:pt x="11645" y="425"/>
                  <a:pt x="11645" y="425"/>
                  <a:pt x="11645" y="425"/>
                </a:cubicBezTo>
                <a:cubicBezTo>
                  <a:pt x="11644" y="416"/>
                  <a:pt x="11644" y="416"/>
                  <a:pt x="11644" y="416"/>
                </a:cubicBezTo>
                <a:cubicBezTo>
                  <a:pt x="11563" y="421"/>
                  <a:pt x="11563" y="421"/>
                  <a:pt x="11563" y="421"/>
                </a:cubicBezTo>
                <a:cubicBezTo>
                  <a:pt x="11532" y="408"/>
                  <a:pt x="11532" y="408"/>
                  <a:pt x="11532" y="408"/>
                </a:cubicBezTo>
                <a:cubicBezTo>
                  <a:pt x="11519" y="408"/>
                  <a:pt x="11519" y="408"/>
                  <a:pt x="11519" y="408"/>
                </a:cubicBezTo>
                <a:cubicBezTo>
                  <a:pt x="11544" y="424"/>
                  <a:pt x="11544" y="424"/>
                  <a:pt x="11544" y="424"/>
                </a:cubicBezTo>
                <a:cubicBezTo>
                  <a:pt x="11544" y="424"/>
                  <a:pt x="11492" y="423"/>
                  <a:pt x="11500" y="431"/>
                </a:cubicBezTo>
                <a:cubicBezTo>
                  <a:pt x="11508" y="439"/>
                  <a:pt x="11518" y="444"/>
                  <a:pt x="11518" y="444"/>
                </a:cubicBezTo>
                <a:cubicBezTo>
                  <a:pt x="11539" y="442"/>
                  <a:pt x="11539" y="442"/>
                  <a:pt x="11539" y="442"/>
                </a:cubicBezTo>
                <a:cubicBezTo>
                  <a:pt x="11539" y="447"/>
                  <a:pt x="11539" y="447"/>
                  <a:pt x="11539" y="447"/>
                </a:cubicBezTo>
                <a:cubicBezTo>
                  <a:pt x="11578" y="473"/>
                  <a:pt x="11578" y="473"/>
                  <a:pt x="11578" y="473"/>
                </a:cubicBezTo>
                <a:cubicBezTo>
                  <a:pt x="11578" y="473"/>
                  <a:pt x="11572" y="474"/>
                  <a:pt x="11557" y="473"/>
                </a:cubicBezTo>
                <a:cubicBezTo>
                  <a:pt x="11542" y="472"/>
                  <a:pt x="11522" y="457"/>
                  <a:pt x="11517" y="462"/>
                </a:cubicBezTo>
                <a:cubicBezTo>
                  <a:pt x="11512" y="467"/>
                  <a:pt x="11508" y="470"/>
                  <a:pt x="11508" y="470"/>
                </a:cubicBezTo>
                <a:cubicBezTo>
                  <a:pt x="11525" y="484"/>
                  <a:pt x="11525" y="484"/>
                  <a:pt x="11525" y="484"/>
                </a:cubicBezTo>
                <a:cubicBezTo>
                  <a:pt x="11489" y="479"/>
                  <a:pt x="11489" y="479"/>
                  <a:pt x="11489" y="479"/>
                </a:cubicBezTo>
                <a:cubicBezTo>
                  <a:pt x="11489" y="479"/>
                  <a:pt x="11440" y="463"/>
                  <a:pt x="11432" y="464"/>
                </a:cubicBezTo>
                <a:cubicBezTo>
                  <a:pt x="11424" y="465"/>
                  <a:pt x="11396" y="477"/>
                  <a:pt x="11396" y="477"/>
                </a:cubicBezTo>
                <a:cubicBezTo>
                  <a:pt x="11351" y="473"/>
                  <a:pt x="11351" y="473"/>
                  <a:pt x="11351" y="473"/>
                </a:cubicBezTo>
                <a:cubicBezTo>
                  <a:pt x="11351" y="473"/>
                  <a:pt x="11313" y="455"/>
                  <a:pt x="11310" y="451"/>
                </a:cubicBezTo>
                <a:cubicBezTo>
                  <a:pt x="11307" y="447"/>
                  <a:pt x="11300" y="457"/>
                  <a:pt x="11303" y="465"/>
                </a:cubicBezTo>
                <a:cubicBezTo>
                  <a:pt x="11306" y="473"/>
                  <a:pt x="11333" y="501"/>
                  <a:pt x="11317" y="502"/>
                </a:cubicBezTo>
                <a:cubicBezTo>
                  <a:pt x="11301" y="503"/>
                  <a:pt x="11222" y="474"/>
                  <a:pt x="11219" y="472"/>
                </a:cubicBezTo>
                <a:cubicBezTo>
                  <a:pt x="11216" y="470"/>
                  <a:pt x="11197" y="453"/>
                  <a:pt x="11197" y="453"/>
                </a:cubicBezTo>
                <a:cubicBezTo>
                  <a:pt x="11195" y="463"/>
                  <a:pt x="11195" y="463"/>
                  <a:pt x="11195" y="463"/>
                </a:cubicBezTo>
                <a:cubicBezTo>
                  <a:pt x="11158" y="452"/>
                  <a:pt x="11158" y="452"/>
                  <a:pt x="11158" y="452"/>
                </a:cubicBezTo>
                <a:cubicBezTo>
                  <a:pt x="11141" y="440"/>
                  <a:pt x="11141" y="440"/>
                  <a:pt x="11141" y="440"/>
                </a:cubicBezTo>
                <a:cubicBezTo>
                  <a:pt x="11141" y="440"/>
                  <a:pt x="11179" y="450"/>
                  <a:pt x="11185" y="445"/>
                </a:cubicBezTo>
                <a:cubicBezTo>
                  <a:pt x="11191" y="440"/>
                  <a:pt x="11162" y="426"/>
                  <a:pt x="11162" y="426"/>
                </a:cubicBezTo>
                <a:cubicBezTo>
                  <a:pt x="11139" y="426"/>
                  <a:pt x="11139" y="426"/>
                  <a:pt x="11139" y="426"/>
                </a:cubicBezTo>
                <a:cubicBezTo>
                  <a:pt x="11139" y="426"/>
                  <a:pt x="11150" y="420"/>
                  <a:pt x="11143" y="415"/>
                </a:cubicBezTo>
                <a:cubicBezTo>
                  <a:pt x="11136" y="410"/>
                  <a:pt x="11116" y="410"/>
                  <a:pt x="11116" y="410"/>
                </a:cubicBezTo>
                <a:cubicBezTo>
                  <a:pt x="11124" y="401"/>
                  <a:pt x="11124" y="401"/>
                  <a:pt x="11124" y="401"/>
                </a:cubicBezTo>
                <a:cubicBezTo>
                  <a:pt x="11124" y="401"/>
                  <a:pt x="11092" y="392"/>
                  <a:pt x="11088" y="392"/>
                </a:cubicBezTo>
                <a:cubicBezTo>
                  <a:pt x="11084" y="392"/>
                  <a:pt x="11069" y="382"/>
                  <a:pt x="11069" y="382"/>
                </a:cubicBezTo>
                <a:cubicBezTo>
                  <a:pt x="11038" y="382"/>
                  <a:pt x="11038" y="382"/>
                  <a:pt x="11038" y="382"/>
                </a:cubicBezTo>
                <a:cubicBezTo>
                  <a:pt x="11038" y="382"/>
                  <a:pt x="11047" y="385"/>
                  <a:pt x="11024" y="386"/>
                </a:cubicBezTo>
                <a:cubicBezTo>
                  <a:pt x="11001" y="387"/>
                  <a:pt x="10986" y="379"/>
                  <a:pt x="10986" y="379"/>
                </a:cubicBezTo>
                <a:cubicBezTo>
                  <a:pt x="10972" y="385"/>
                  <a:pt x="10972" y="385"/>
                  <a:pt x="10972" y="385"/>
                </a:cubicBezTo>
                <a:cubicBezTo>
                  <a:pt x="10970" y="376"/>
                  <a:pt x="10970" y="376"/>
                  <a:pt x="10970" y="376"/>
                </a:cubicBezTo>
                <a:cubicBezTo>
                  <a:pt x="10938" y="370"/>
                  <a:pt x="10938" y="370"/>
                  <a:pt x="10938" y="370"/>
                </a:cubicBezTo>
                <a:cubicBezTo>
                  <a:pt x="10931" y="364"/>
                  <a:pt x="10931" y="364"/>
                  <a:pt x="10931" y="364"/>
                </a:cubicBezTo>
                <a:cubicBezTo>
                  <a:pt x="10926" y="377"/>
                  <a:pt x="10926" y="377"/>
                  <a:pt x="10926" y="377"/>
                </a:cubicBezTo>
                <a:cubicBezTo>
                  <a:pt x="10917" y="378"/>
                  <a:pt x="10917" y="378"/>
                  <a:pt x="10917" y="378"/>
                </a:cubicBezTo>
                <a:cubicBezTo>
                  <a:pt x="10935" y="393"/>
                  <a:pt x="10935" y="393"/>
                  <a:pt x="10935" y="393"/>
                </a:cubicBezTo>
                <a:cubicBezTo>
                  <a:pt x="10952" y="413"/>
                  <a:pt x="10952" y="413"/>
                  <a:pt x="10952" y="413"/>
                </a:cubicBezTo>
                <a:cubicBezTo>
                  <a:pt x="10918" y="409"/>
                  <a:pt x="10918" y="409"/>
                  <a:pt x="10918" y="409"/>
                </a:cubicBezTo>
                <a:cubicBezTo>
                  <a:pt x="10914" y="403"/>
                  <a:pt x="10914" y="403"/>
                  <a:pt x="10914" y="403"/>
                </a:cubicBezTo>
                <a:cubicBezTo>
                  <a:pt x="10870" y="406"/>
                  <a:pt x="10870" y="406"/>
                  <a:pt x="10870" y="406"/>
                </a:cubicBezTo>
                <a:cubicBezTo>
                  <a:pt x="10859" y="410"/>
                  <a:pt x="10859" y="410"/>
                  <a:pt x="10859" y="410"/>
                </a:cubicBezTo>
                <a:cubicBezTo>
                  <a:pt x="10858" y="402"/>
                  <a:pt x="10858" y="402"/>
                  <a:pt x="10858" y="402"/>
                </a:cubicBezTo>
                <a:cubicBezTo>
                  <a:pt x="10829" y="408"/>
                  <a:pt x="10829" y="408"/>
                  <a:pt x="10829" y="408"/>
                </a:cubicBezTo>
                <a:cubicBezTo>
                  <a:pt x="10824" y="400"/>
                  <a:pt x="10824" y="400"/>
                  <a:pt x="10824" y="400"/>
                </a:cubicBezTo>
                <a:cubicBezTo>
                  <a:pt x="10786" y="401"/>
                  <a:pt x="10786" y="401"/>
                  <a:pt x="10786" y="401"/>
                </a:cubicBezTo>
                <a:cubicBezTo>
                  <a:pt x="10764" y="394"/>
                  <a:pt x="10764" y="394"/>
                  <a:pt x="10764" y="394"/>
                </a:cubicBezTo>
                <a:cubicBezTo>
                  <a:pt x="10775" y="380"/>
                  <a:pt x="10775" y="380"/>
                  <a:pt x="10775" y="380"/>
                </a:cubicBezTo>
                <a:cubicBezTo>
                  <a:pt x="10690" y="379"/>
                  <a:pt x="10690" y="379"/>
                  <a:pt x="10690" y="379"/>
                </a:cubicBezTo>
                <a:cubicBezTo>
                  <a:pt x="10685" y="373"/>
                  <a:pt x="10685" y="373"/>
                  <a:pt x="10685" y="373"/>
                </a:cubicBezTo>
                <a:cubicBezTo>
                  <a:pt x="10679" y="376"/>
                  <a:pt x="10679" y="376"/>
                  <a:pt x="10679" y="376"/>
                </a:cubicBezTo>
                <a:cubicBezTo>
                  <a:pt x="10673" y="372"/>
                  <a:pt x="10673" y="372"/>
                  <a:pt x="10673" y="372"/>
                </a:cubicBezTo>
                <a:cubicBezTo>
                  <a:pt x="10638" y="374"/>
                  <a:pt x="10638" y="374"/>
                  <a:pt x="10638" y="374"/>
                </a:cubicBezTo>
                <a:cubicBezTo>
                  <a:pt x="10642" y="382"/>
                  <a:pt x="10642" y="382"/>
                  <a:pt x="10642" y="382"/>
                </a:cubicBezTo>
                <a:cubicBezTo>
                  <a:pt x="10605" y="378"/>
                  <a:pt x="10605" y="378"/>
                  <a:pt x="10605" y="378"/>
                </a:cubicBezTo>
                <a:cubicBezTo>
                  <a:pt x="10595" y="383"/>
                  <a:pt x="10595" y="383"/>
                  <a:pt x="10595" y="383"/>
                </a:cubicBezTo>
                <a:cubicBezTo>
                  <a:pt x="10616" y="390"/>
                  <a:pt x="10616" y="390"/>
                  <a:pt x="10616" y="390"/>
                </a:cubicBezTo>
                <a:cubicBezTo>
                  <a:pt x="10589" y="389"/>
                  <a:pt x="10589" y="389"/>
                  <a:pt x="10589" y="389"/>
                </a:cubicBezTo>
                <a:cubicBezTo>
                  <a:pt x="10586" y="377"/>
                  <a:pt x="10586" y="377"/>
                  <a:pt x="10586" y="377"/>
                </a:cubicBezTo>
                <a:cubicBezTo>
                  <a:pt x="10569" y="362"/>
                  <a:pt x="10569" y="362"/>
                  <a:pt x="10569" y="362"/>
                </a:cubicBezTo>
                <a:cubicBezTo>
                  <a:pt x="10555" y="362"/>
                  <a:pt x="10555" y="362"/>
                  <a:pt x="10555" y="362"/>
                </a:cubicBezTo>
                <a:cubicBezTo>
                  <a:pt x="10562" y="377"/>
                  <a:pt x="10562" y="377"/>
                  <a:pt x="10562" y="377"/>
                </a:cubicBezTo>
                <a:cubicBezTo>
                  <a:pt x="10527" y="377"/>
                  <a:pt x="10527" y="377"/>
                  <a:pt x="10527" y="377"/>
                </a:cubicBezTo>
                <a:cubicBezTo>
                  <a:pt x="10523" y="372"/>
                  <a:pt x="10523" y="372"/>
                  <a:pt x="10523" y="372"/>
                </a:cubicBezTo>
                <a:cubicBezTo>
                  <a:pt x="10514" y="372"/>
                  <a:pt x="10514" y="372"/>
                  <a:pt x="10514" y="372"/>
                </a:cubicBezTo>
                <a:cubicBezTo>
                  <a:pt x="10510" y="362"/>
                  <a:pt x="10510" y="362"/>
                  <a:pt x="10510" y="362"/>
                </a:cubicBezTo>
                <a:cubicBezTo>
                  <a:pt x="10501" y="362"/>
                  <a:pt x="10501" y="362"/>
                  <a:pt x="10501" y="362"/>
                </a:cubicBezTo>
                <a:cubicBezTo>
                  <a:pt x="10490" y="365"/>
                  <a:pt x="10490" y="365"/>
                  <a:pt x="10490" y="365"/>
                </a:cubicBezTo>
                <a:cubicBezTo>
                  <a:pt x="10474" y="357"/>
                  <a:pt x="10474" y="357"/>
                  <a:pt x="10474" y="357"/>
                </a:cubicBezTo>
                <a:cubicBezTo>
                  <a:pt x="10454" y="371"/>
                  <a:pt x="10454" y="371"/>
                  <a:pt x="10454" y="371"/>
                </a:cubicBezTo>
                <a:cubicBezTo>
                  <a:pt x="10490" y="375"/>
                  <a:pt x="10490" y="375"/>
                  <a:pt x="10490" y="375"/>
                </a:cubicBezTo>
                <a:cubicBezTo>
                  <a:pt x="10498" y="376"/>
                  <a:pt x="10498" y="376"/>
                  <a:pt x="10498" y="376"/>
                </a:cubicBezTo>
                <a:cubicBezTo>
                  <a:pt x="10498" y="376"/>
                  <a:pt x="10485" y="387"/>
                  <a:pt x="10478" y="387"/>
                </a:cubicBezTo>
                <a:cubicBezTo>
                  <a:pt x="10471" y="387"/>
                  <a:pt x="10466" y="386"/>
                  <a:pt x="10460" y="388"/>
                </a:cubicBezTo>
                <a:cubicBezTo>
                  <a:pt x="10454" y="390"/>
                  <a:pt x="10452" y="396"/>
                  <a:pt x="10447" y="396"/>
                </a:cubicBezTo>
                <a:cubicBezTo>
                  <a:pt x="10442" y="396"/>
                  <a:pt x="10398" y="397"/>
                  <a:pt x="10398" y="397"/>
                </a:cubicBezTo>
                <a:cubicBezTo>
                  <a:pt x="10376" y="400"/>
                  <a:pt x="10376" y="400"/>
                  <a:pt x="10376" y="400"/>
                </a:cubicBezTo>
                <a:cubicBezTo>
                  <a:pt x="10366" y="417"/>
                  <a:pt x="10366" y="417"/>
                  <a:pt x="10366" y="417"/>
                </a:cubicBezTo>
                <a:cubicBezTo>
                  <a:pt x="10350" y="413"/>
                  <a:pt x="10350" y="413"/>
                  <a:pt x="10350" y="413"/>
                </a:cubicBezTo>
                <a:cubicBezTo>
                  <a:pt x="10350" y="413"/>
                  <a:pt x="10353" y="397"/>
                  <a:pt x="10361" y="393"/>
                </a:cubicBezTo>
                <a:cubicBezTo>
                  <a:pt x="10369" y="389"/>
                  <a:pt x="10381" y="389"/>
                  <a:pt x="10381" y="389"/>
                </a:cubicBezTo>
                <a:cubicBezTo>
                  <a:pt x="10386" y="378"/>
                  <a:pt x="10386" y="378"/>
                  <a:pt x="10386" y="378"/>
                </a:cubicBezTo>
                <a:cubicBezTo>
                  <a:pt x="10414" y="375"/>
                  <a:pt x="10414" y="375"/>
                  <a:pt x="10414" y="375"/>
                </a:cubicBezTo>
                <a:cubicBezTo>
                  <a:pt x="10444" y="353"/>
                  <a:pt x="10444" y="353"/>
                  <a:pt x="10444" y="353"/>
                </a:cubicBezTo>
                <a:cubicBezTo>
                  <a:pt x="10444" y="353"/>
                  <a:pt x="10443" y="340"/>
                  <a:pt x="10455" y="335"/>
                </a:cubicBezTo>
                <a:cubicBezTo>
                  <a:pt x="10467" y="330"/>
                  <a:pt x="10516" y="331"/>
                  <a:pt x="10514" y="313"/>
                </a:cubicBezTo>
                <a:cubicBezTo>
                  <a:pt x="10512" y="295"/>
                  <a:pt x="10497" y="291"/>
                  <a:pt x="10497" y="291"/>
                </a:cubicBezTo>
                <a:cubicBezTo>
                  <a:pt x="10470" y="293"/>
                  <a:pt x="10470" y="293"/>
                  <a:pt x="10470" y="293"/>
                </a:cubicBezTo>
                <a:cubicBezTo>
                  <a:pt x="10493" y="283"/>
                  <a:pt x="10493" y="283"/>
                  <a:pt x="10493" y="283"/>
                </a:cubicBezTo>
                <a:cubicBezTo>
                  <a:pt x="10493" y="283"/>
                  <a:pt x="10473" y="268"/>
                  <a:pt x="10468" y="269"/>
                </a:cubicBezTo>
                <a:cubicBezTo>
                  <a:pt x="10463" y="270"/>
                  <a:pt x="10446" y="271"/>
                  <a:pt x="10446" y="271"/>
                </a:cubicBezTo>
                <a:cubicBezTo>
                  <a:pt x="10446" y="271"/>
                  <a:pt x="10440" y="255"/>
                  <a:pt x="10427" y="255"/>
                </a:cubicBezTo>
                <a:cubicBezTo>
                  <a:pt x="10414" y="255"/>
                  <a:pt x="10400" y="260"/>
                  <a:pt x="10400" y="260"/>
                </a:cubicBezTo>
                <a:cubicBezTo>
                  <a:pt x="10364" y="251"/>
                  <a:pt x="10364" y="251"/>
                  <a:pt x="10364" y="251"/>
                </a:cubicBezTo>
                <a:cubicBezTo>
                  <a:pt x="10270" y="248"/>
                  <a:pt x="10270" y="248"/>
                  <a:pt x="10270" y="248"/>
                </a:cubicBezTo>
                <a:cubicBezTo>
                  <a:pt x="10273" y="260"/>
                  <a:pt x="10273" y="260"/>
                  <a:pt x="10273" y="260"/>
                </a:cubicBezTo>
                <a:cubicBezTo>
                  <a:pt x="10228" y="260"/>
                  <a:pt x="10228" y="260"/>
                  <a:pt x="10228" y="260"/>
                </a:cubicBezTo>
                <a:cubicBezTo>
                  <a:pt x="10228" y="260"/>
                  <a:pt x="10247" y="243"/>
                  <a:pt x="10235" y="238"/>
                </a:cubicBezTo>
                <a:cubicBezTo>
                  <a:pt x="10223" y="233"/>
                  <a:pt x="10172" y="239"/>
                  <a:pt x="10172" y="239"/>
                </a:cubicBezTo>
                <a:cubicBezTo>
                  <a:pt x="10131" y="235"/>
                  <a:pt x="10131" y="235"/>
                  <a:pt x="10131" y="235"/>
                </a:cubicBezTo>
                <a:cubicBezTo>
                  <a:pt x="10131" y="235"/>
                  <a:pt x="10178" y="233"/>
                  <a:pt x="10172" y="224"/>
                </a:cubicBezTo>
                <a:cubicBezTo>
                  <a:pt x="10166" y="215"/>
                  <a:pt x="10119" y="214"/>
                  <a:pt x="10119" y="214"/>
                </a:cubicBezTo>
                <a:cubicBezTo>
                  <a:pt x="10091" y="210"/>
                  <a:pt x="10091" y="210"/>
                  <a:pt x="10091" y="210"/>
                </a:cubicBezTo>
                <a:cubicBezTo>
                  <a:pt x="10088" y="220"/>
                  <a:pt x="10088" y="220"/>
                  <a:pt x="10088" y="220"/>
                </a:cubicBezTo>
                <a:cubicBezTo>
                  <a:pt x="10088" y="220"/>
                  <a:pt x="10039" y="218"/>
                  <a:pt x="10043" y="232"/>
                </a:cubicBezTo>
                <a:cubicBezTo>
                  <a:pt x="10047" y="246"/>
                  <a:pt x="10093" y="261"/>
                  <a:pt x="10093" y="261"/>
                </a:cubicBezTo>
                <a:cubicBezTo>
                  <a:pt x="9997" y="255"/>
                  <a:pt x="9997" y="255"/>
                  <a:pt x="9997" y="255"/>
                </a:cubicBezTo>
                <a:cubicBezTo>
                  <a:pt x="10031" y="269"/>
                  <a:pt x="10031" y="269"/>
                  <a:pt x="10031" y="269"/>
                </a:cubicBezTo>
                <a:cubicBezTo>
                  <a:pt x="9996" y="274"/>
                  <a:pt x="9996" y="274"/>
                  <a:pt x="9996" y="274"/>
                </a:cubicBezTo>
                <a:cubicBezTo>
                  <a:pt x="9996" y="274"/>
                  <a:pt x="9939" y="292"/>
                  <a:pt x="9929" y="286"/>
                </a:cubicBezTo>
                <a:cubicBezTo>
                  <a:pt x="9919" y="280"/>
                  <a:pt x="9934" y="268"/>
                  <a:pt x="9934" y="268"/>
                </a:cubicBezTo>
                <a:cubicBezTo>
                  <a:pt x="9934" y="268"/>
                  <a:pt x="9886" y="268"/>
                  <a:pt x="9877" y="270"/>
                </a:cubicBezTo>
                <a:cubicBezTo>
                  <a:pt x="9868" y="272"/>
                  <a:pt x="9854" y="284"/>
                  <a:pt x="9854" y="284"/>
                </a:cubicBezTo>
                <a:cubicBezTo>
                  <a:pt x="9854" y="284"/>
                  <a:pt x="9791" y="289"/>
                  <a:pt x="9776" y="292"/>
                </a:cubicBezTo>
                <a:cubicBezTo>
                  <a:pt x="9761" y="295"/>
                  <a:pt x="9728" y="302"/>
                  <a:pt x="9728" y="302"/>
                </a:cubicBezTo>
                <a:cubicBezTo>
                  <a:pt x="9699" y="325"/>
                  <a:pt x="9699" y="325"/>
                  <a:pt x="9699" y="325"/>
                </a:cubicBezTo>
                <a:cubicBezTo>
                  <a:pt x="9699" y="325"/>
                  <a:pt x="9667" y="323"/>
                  <a:pt x="9681" y="337"/>
                </a:cubicBezTo>
                <a:cubicBezTo>
                  <a:pt x="9695" y="351"/>
                  <a:pt x="9720" y="361"/>
                  <a:pt x="9720" y="361"/>
                </a:cubicBezTo>
                <a:cubicBezTo>
                  <a:pt x="9690" y="367"/>
                  <a:pt x="9690" y="367"/>
                  <a:pt x="9690" y="367"/>
                </a:cubicBezTo>
                <a:cubicBezTo>
                  <a:pt x="9676" y="376"/>
                  <a:pt x="9676" y="376"/>
                  <a:pt x="9676" y="376"/>
                </a:cubicBezTo>
                <a:cubicBezTo>
                  <a:pt x="9609" y="374"/>
                  <a:pt x="9609" y="374"/>
                  <a:pt x="9609" y="374"/>
                </a:cubicBezTo>
                <a:cubicBezTo>
                  <a:pt x="9604" y="379"/>
                  <a:pt x="9604" y="379"/>
                  <a:pt x="9604" y="379"/>
                </a:cubicBezTo>
                <a:cubicBezTo>
                  <a:pt x="9579" y="370"/>
                  <a:pt x="9579" y="370"/>
                  <a:pt x="9579" y="370"/>
                </a:cubicBezTo>
                <a:cubicBezTo>
                  <a:pt x="9568" y="377"/>
                  <a:pt x="9568" y="377"/>
                  <a:pt x="9568" y="377"/>
                </a:cubicBezTo>
                <a:cubicBezTo>
                  <a:pt x="9568" y="377"/>
                  <a:pt x="9530" y="373"/>
                  <a:pt x="9528" y="381"/>
                </a:cubicBezTo>
                <a:cubicBezTo>
                  <a:pt x="9526" y="389"/>
                  <a:pt x="9527" y="404"/>
                  <a:pt x="9538" y="406"/>
                </a:cubicBezTo>
                <a:cubicBezTo>
                  <a:pt x="9549" y="408"/>
                  <a:pt x="9555" y="424"/>
                  <a:pt x="9555" y="424"/>
                </a:cubicBezTo>
                <a:cubicBezTo>
                  <a:pt x="9555" y="424"/>
                  <a:pt x="9590" y="434"/>
                  <a:pt x="9599" y="434"/>
                </a:cubicBezTo>
                <a:cubicBezTo>
                  <a:pt x="9608" y="434"/>
                  <a:pt x="9627" y="439"/>
                  <a:pt x="9634" y="442"/>
                </a:cubicBezTo>
                <a:cubicBezTo>
                  <a:pt x="9641" y="445"/>
                  <a:pt x="9657" y="461"/>
                  <a:pt x="9646" y="461"/>
                </a:cubicBezTo>
                <a:cubicBezTo>
                  <a:pt x="9635" y="461"/>
                  <a:pt x="9611" y="463"/>
                  <a:pt x="9611" y="463"/>
                </a:cubicBezTo>
                <a:cubicBezTo>
                  <a:pt x="9611" y="463"/>
                  <a:pt x="9565" y="443"/>
                  <a:pt x="9549" y="439"/>
                </a:cubicBezTo>
                <a:cubicBezTo>
                  <a:pt x="9533" y="435"/>
                  <a:pt x="9509" y="432"/>
                  <a:pt x="9501" y="432"/>
                </a:cubicBezTo>
                <a:cubicBezTo>
                  <a:pt x="9493" y="432"/>
                  <a:pt x="9472" y="430"/>
                  <a:pt x="9474" y="438"/>
                </a:cubicBezTo>
                <a:cubicBezTo>
                  <a:pt x="9476" y="446"/>
                  <a:pt x="9502" y="456"/>
                  <a:pt x="9485" y="457"/>
                </a:cubicBezTo>
                <a:cubicBezTo>
                  <a:pt x="9468" y="458"/>
                  <a:pt x="9462" y="446"/>
                  <a:pt x="9452" y="446"/>
                </a:cubicBezTo>
                <a:cubicBezTo>
                  <a:pt x="9442" y="446"/>
                  <a:pt x="9428" y="436"/>
                  <a:pt x="9427" y="449"/>
                </a:cubicBezTo>
                <a:cubicBezTo>
                  <a:pt x="9426" y="462"/>
                  <a:pt x="9440" y="475"/>
                  <a:pt x="9455" y="474"/>
                </a:cubicBezTo>
                <a:cubicBezTo>
                  <a:pt x="9470" y="473"/>
                  <a:pt x="9493" y="480"/>
                  <a:pt x="9503" y="480"/>
                </a:cubicBezTo>
                <a:cubicBezTo>
                  <a:pt x="9513" y="480"/>
                  <a:pt x="9529" y="496"/>
                  <a:pt x="9529" y="496"/>
                </a:cubicBezTo>
                <a:cubicBezTo>
                  <a:pt x="9508" y="496"/>
                  <a:pt x="9508" y="496"/>
                  <a:pt x="9508" y="496"/>
                </a:cubicBezTo>
                <a:cubicBezTo>
                  <a:pt x="9508" y="496"/>
                  <a:pt x="9502" y="486"/>
                  <a:pt x="9488" y="486"/>
                </a:cubicBezTo>
                <a:cubicBezTo>
                  <a:pt x="9474" y="486"/>
                  <a:pt x="9431" y="484"/>
                  <a:pt x="9431" y="484"/>
                </a:cubicBezTo>
                <a:cubicBezTo>
                  <a:pt x="9428" y="476"/>
                  <a:pt x="9428" y="476"/>
                  <a:pt x="9428" y="476"/>
                </a:cubicBezTo>
                <a:cubicBezTo>
                  <a:pt x="9411" y="476"/>
                  <a:pt x="9411" y="476"/>
                  <a:pt x="9411" y="476"/>
                </a:cubicBezTo>
                <a:cubicBezTo>
                  <a:pt x="9408" y="465"/>
                  <a:pt x="9408" y="465"/>
                  <a:pt x="9408" y="465"/>
                </a:cubicBezTo>
                <a:cubicBezTo>
                  <a:pt x="9386" y="454"/>
                  <a:pt x="9386" y="454"/>
                  <a:pt x="9386" y="454"/>
                </a:cubicBezTo>
                <a:cubicBezTo>
                  <a:pt x="9386" y="454"/>
                  <a:pt x="9411" y="442"/>
                  <a:pt x="9401" y="433"/>
                </a:cubicBezTo>
                <a:cubicBezTo>
                  <a:pt x="9391" y="424"/>
                  <a:pt x="9377" y="413"/>
                  <a:pt x="9377" y="413"/>
                </a:cubicBezTo>
                <a:cubicBezTo>
                  <a:pt x="9356" y="412"/>
                  <a:pt x="9356" y="412"/>
                  <a:pt x="9356" y="412"/>
                </a:cubicBezTo>
                <a:cubicBezTo>
                  <a:pt x="9356" y="412"/>
                  <a:pt x="9386" y="429"/>
                  <a:pt x="9377" y="437"/>
                </a:cubicBezTo>
                <a:cubicBezTo>
                  <a:pt x="9368" y="445"/>
                  <a:pt x="9348" y="448"/>
                  <a:pt x="9348" y="448"/>
                </a:cubicBezTo>
                <a:cubicBezTo>
                  <a:pt x="9335" y="475"/>
                  <a:pt x="9335" y="475"/>
                  <a:pt x="9335" y="475"/>
                </a:cubicBezTo>
                <a:cubicBezTo>
                  <a:pt x="9384" y="500"/>
                  <a:pt x="9384" y="500"/>
                  <a:pt x="9384" y="500"/>
                </a:cubicBezTo>
                <a:cubicBezTo>
                  <a:pt x="9384" y="500"/>
                  <a:pt x="9397" y="495"/>
                  <a:pt x="9397" y="501"/>
                </a:cubicBezTo>
                <a:cubicBezTo>
                  <a:pt x="9397" y="507"/>
                  <a:pt x="9390" y="538"/>
                  <a:pt x="9390" y="538"/>
                </a:cubicBezTo>
                <a:cubicBezTo>
                  <a:pt x="9397" y="551"/>
                  <a:pt x="9397" y="551"/>
                  <a:pt x="9397" y="551"/>
                </a:cubicBezTo>
                <a:cubicBezTo>
                  <a:pt x="9421" y="555"/>
                  <a:pt x="9421" y="555"/>
                  <a:pt x="9421" y="555"/>
                </a:cubicBezTo>
                <a:cubicBezTo>
                  <a:pt x="9420" y="573"/>
                  <a:pt x="9420" y="573"/>
                  <a:pt x="9420" y="573"/>
                </a:cubicBezTo>
                <a:cubicBezTo>
                  <a:pt x="9460" y="581"/>
                  <a:pt x="9460" y="581"/>
                  <a:pt x="9460" y="581"/>
                </a:cubicBezTo>
                <a:cubicBezTo>
                  <a:pt x="9460" y="581"/>
                  <a:pt x="9490" y="569"/>
                  <a:pt x="9504" y="570"/>
                </a:cubicBezTo>
                <a:cubicBezTo>
                  <a:pt x="9518" y="571"/>
                  <a:pt x="9536" y="583"/>
                  <a:pt x="9536" y="583"/>
                </a:cubicBezTo>
                <a:cubicBezTo>
                  <a:pt x="9536" y="583"/>
                  <a:pt x="9565" y="587"/>
                  <a:pt x="9578" y="596"/>
                </a:cubicBezTo>
                <a:cubicBezTo>
                  <a:pt x="9591" y="605"/>
                  <a:pt x="9594" y="616"/>
                  <a:pt x="9594" y="616"/>
                </a:cubicBezTo>
                <a:cubicBezTo>
                  <a:pt x="9594" y="616"/>
                  <a:pt x="9561" y="620"/>
                  <a:pt x="9574" y="628"/>
                </a:cubicBezTo>
                <a:cubicBezTo>
                  <a:pt x="9587" y="636"/>
                  <a:pt x="9601" y="643"/>
                  <a:pt x="9601" y="643"/>
                </a:cubicBezTo>
                <a:cubicBezTo>
                  <a:pt x="9629" y="642"/>
                  <a:pt x="9629" y="642"/>
                  <a:pt x="9629" y="642"/>
                </a:cubicBezTo>
                <a:cubicBezTo>
                  <a:pt x="9629" y="642"/>
                  <a:pt x="9613" y="650"/>
                  <a:pt x="9600" y="650"/>
                </a:cubicBezTo>
                <a:cubicBezTo>
                  <a:pt x="9587" y="650"/>
                  <a:pt x="9571" y="641"/>
                  <a:pt x="9571" y="641"/>
                </a:cubicBezTo>
                <a:cubicBezTo>
                  <a:pt x="9571" y="641"/>
                  <a:pt x="9572" y="618"/>
                  <a:pt x="9557" y="609"/>
                </a:cubicBezTo>
                <a:cubicBezTo>
                  <a:pt x="9542" y="600"/>
                  <a:pt x="9530" y="595"/>
                  <a:pt x="9530" y="595"/>
                </a:cubicBezTo>
                <a:cubicBezTo>
                  <a:pt x="9530" y="595"/>
                  <a:pt x="9526" y="580"/>
                  <a:pt x="9514" y="581"/>
                </a:cubicBezTo>
                <a:cubicBezTo>
                  <a:pt x="9502" y="582"/>
                  <a:pt x="9470" y="588"/>
                  <a:pt x="9470" y="588"/>
                </a:cubicBezTo>
                <a:cubicBezTo>
                  <a:pt x="9470" y="588"/>
                  <a:pt x="9452" y="590"/>
                  <a:pt x="9453" y="601"/>
                </a:cubicBezTo>
                <a:cubicBezTo>
                  <a:pt x="9454" y="612"/>
                  <a:pt x="9486" y="630"/>
                  <a:pt x="9486" y="634"/>
                </a:cubicBezTo>
                <a:cubicBezTo>
                  <a:pt x="9486" y="638"/>
                  <a:pt x="9467" y="650"/>
                  <a:pt x="9467" y="650"/>
                </a:cubicBezTo>
                <a:cubicBezTo>
                  <a:pt x="9465" y="679"/>
                  <a:pt x="9465" y="679"/>
                  <a:pt x="9465" y="679"/>
                </a:cubicBezTo>
                <a:cubicBezTo>
                  <a:pt x="9437" y="693"/>
                  <a:pt x="9437" y="693"/>
                  <a:pt x="9437" y="693"/>
                </a:cubicBezTo>
                <a:cubicBezTo>
                  <a:pt x="9437" y="693"/>
                  <a:pt x="9431" y="714"/>
                  <a:pt x="9418" y="708"/>
                </a:cubicBezTo>
                <a:cubicBezTo>
                  <a:pt x="9405" y="702"/>
                  <a:pt x="9379" y="704"/>
                  <a:pt x="9379" y="704"/>
                </a:cubicBezTo>
                <a:cubicBezTo>
                  <a:pt x="9341" y="700"/>
                  <a:pt x="9341" y="700"/>
                  <a:pt x="9341" y="700"/>
                </a:cubicBezTo>
                <a:cubicBezTo>
                  <a:pt x="9341" y="700"/>
                  <a:pt x="9298" y="685"/>
                  <a:pt x="9309" y="684"/>
                </a:cubicBezTo>
                <a:cubicBezTo>
                  <a:pt x="9320" y="683"/>
                  <a:pt x="9343" y="682"/>
                  <a:pt x="9343" y="682"/>
                </a:cubicBezTo>
                <a:cubicBezTo>
                  <a:pt x="9356" y="686"/>
                  <a:pt x="9356" y="686"/>
                  <a:pt x="9356" y="686"/>
                </a:cubicBezTo>
                <a:cubicBezTo>
                  <a:pt x="9371" y="675"/>
                  <a:pt x="9371" y="675"/>
                  <a:pt x="9371" y="675"/>
                </a:cubicBezTo>
                <a:cubicBezTo>
                  <a:pt x="9371" y="675"/>
                  <a:pt x="9409" y="684"/>
                  <a:pt x="9409" y="673"/>
                </a:cubicBezTo>
                <a:cubicBezTo>
                  <a:pt x="9409" y="662"/>
                  <a:pt x="9411" y="647"/>
                  <a:pt x="9411" y="647"/>
                </a:cubicBezTo>
                <a:cubicBezTo>
                  <a:pt x="9427" y="642"/>
                  <a:pt x="9427" y="642"/>
                  <a:pt x="9427" y="642"/>
                </a:cubicBezTo>
                <a:cubicBezTo>
                  <a:pt x="9429" y="628"/>
                  <a:pt x="9429" y="628"/>
                  <a:pt x="9429" y="628"/>
                </a:cubicBezTo>
                <a:cubicBezTo>
                  <a:pt x="9418" y="626"/>
                  <a:pt x="9418" y="626"/>
                  <a:pt x="9418" y="626"/>
                </a:cubicBezTo>
                <a:cubicBezTo>
                  <a:pt x="9418" y="626"/>
                  <a:pt x="9434" y="606"/>
                  <a:pt x="9424" y="602"/>
                </a:cubicBezTo>
                <a:cubicBezTo>
                  <a:pt x="9414" y="598"/>
                  <a:pt x="9371" y="600"/>
                  <a:pt x="9369" y="584"/>
                </a:cubicBezTo>
                <a:cubicBezTo>
                  <a:pt x="9367" y="568"/>
                  <a:pt x="9369" y="549"/>
                  <a:pt x="9360" y="544"/>
                </a:cubicBezTo>
                <a:cubicBezTo>
                  <a:pt x="9351" y="539"/>
                  <a:pt x="9338" y="523"/>
                  <a:pt x="9338" y="523"/>
                </a:cubicBezTo>
                <a:cubicBezTo>
                  <a:pt x="9334" y="499"/>
                  <a:pt x="9334" y="499"/>
                  <a:pt x="9334" y="499"/>
                </a:cubicBezTo>
                <a:cubicBezTo>
                  <a:pt x="9292" y="476"/>
                  <a:pt x="9292" y="476"/>
                  <a:pt x="9292" y="476"/>
                </a:cubicBezTo>
                <a:cubicBezTo>
                  <a:pt x="9292" y="476"/>
                  <a:pt x="9319" y="455"/>
                  <a:pt x="9305" y="435"/>
                </a:cubicBezTo>
                <a:cubicBezTo>
                  <a:pt x="9291" y="415"/>
                  <a:pt x="9259" y="415"/>
                  <a:pt x="9259" y="415"/>
                </a:cubicBezTo>
                <a:cubicBezTo>
                  <a:pt x="9170" y="407"/>
                  <a:pt x="9170" y="407"/>
                  <a:pt x="9170" y="407"/>
                </a:cubicBezTo>
                <a:cubicBezTo>
                  <a:pt x="9163" y="427"/>
                  <a:pt x="9163" y="427"/>
                  <a:pt x="9163" y="427"/>
                </a:cubicBezTo>
                <a:cubicBezTo>
                  <a:pt x="9174" y="438"/>
                  <a:pt x="9174" y="438"/>
                  <a:pt x="9174" y="438"/>
                </a:cubicBezTo>
                <a:cubicBezTo>
                  <a:pt x="9169" y="461"/>
                  <a:pt x="9169" y="461"/>
                  <a:pt x="9169" y="461"/>
                </a:cubicBezTo>
                <a:cubicBezTo>
                  <a:pt x="9131" y="477"/>
                  <a:pt x="9131" y="477"/>
                  <a:pt x="9131" y="477"/>
                </a:cubicBezTo>
                <a:cubicBezTo>
                  <a:pt x="9125" y="496"/>
                  <a:pt x="9125" y="496"/>
                  <a:pt x="9125" y="496"/>
                </a:cubicBezTo>
                <a:cubicBezTo>
                  <a:pt x="9146" y="498"/>
                  <a:pt x="9146" y="498"/>
                  <a:pt x="9146" y="498"/>
                </a:cubicBezTo>
                <a:cubicBezTo>
                  <a:pt x="9169" y="533"/>
                  <a:pt x="9169" y="533"/>
                  <a:pt x="9169" y="533"/>
                </a:cubicBezTo>
                <a:cubicBezTo>
                  <a:pt x="9160" y="545"/>
                  <a:pt x="9160" y="545"/>
                  <a:pt x="9160" y="545"/>
                </a:cubicBezTo>
                <a:cubicBezTo>
                  <a:pt x="9179" y="560"/>
                  <a:pt x="9179" y="560"/>
                  <a:pt x="9179" y="560"/>
                </a:cubicBezTo>
                <a:cubicBezTo>
                  <a:pt x="9202" y="554"/>
                  <a:pt x="9202" y="554"/>
                  <a:pt x="9202" y="554"/>
                </a:cubicBezTo>
                <a:cubicBezTo>
                  <a:pt x="9202" y="554"/>
                  <a:pt x="9220" y="575"/>
                  <a:pt x="9233" y="578"/>
                </a:cubicBezTo>
                <a:cubicBezTo>
                  <a:pt x="9246" y="581"/>
                  <a:pt x="9259" y="581"/>
                  <a:pt x="9259" y="581"/>
                </a:cubicBezTo>
                <a:cubicBezTo>
                  <a:pt x="9256" y="618"/>
                  <a:pt x="9256" y="618"/>
                  <a:pt x="9256" y="618"/>
                </a:cubicBezTo>
                <a:cubicBezTo>
                  <a:pt x="9243" y="604"/>
                  <a:pt x="9243" y="604"/>
                  <a:pt x="9243" y="604"/>
                </a:cubicBezTo>
                <a:cubicBezTo>
                  <a:pt x="9233" y="610"/>
                  <a:pt x="9233" y="610"/>
                  <a:pt x="9233" y="610"/>
                </a:cubicBezTo>
                <a:cubicBezTo>
                  <a:pt x="9233" y="610"/>
                  <a:pt x="9216" y="601"/>
                  <a:pt x="9198" y="593"/>
                </a:cubicBezTo>
                <a:cubicBezTo>
                  <a:pt x="9185" y="587"/>
                  <a:pt x="9171" y="581"/>
                  <a:pt x="9164" y="580"/>
                </a:cubicBezTo>
                <a:cubicBezTo>
                  <a:pt x="9148" y="577"/>
                  <a:pt x="9124" y="579"/>
                  <a:pt x="9124" y="579"/>
                </a:cubicBezTo>
                <a:cubicBezTo>
                  <a:pt x="9113" y="567"/>
                  <a:pt x="9113" y="567"/>
                  <a:pt x="9113" y="567"/>
                </a:cubicBezTo>
                <a:cubicBezTo>
                  <a:pt x="9107" y="581"/>
                  <a:pt x="9107" y="581"/>
                  <a:pt x="9107" y="581"/>
                </a:cubicBezTo>
                <a:cubicBezTo>
                  <a:pt x="9091" y="563"/>
                  <a:pt x="9091" y="563"/>
                  <a:pt x="9091" y="563"/>
                </a:cubicBezTo>
                <a:cubicBezTo>
                  <a:pt x="9091" y="563"/>
                  <a:pt x="9049" y="549"/>
                  <a:pt x="9042" y="549"/>
                </a:cubicBezTo>
                <a:cubicBezTo>
                  <a:pt x="9035" y="549"/>
                  <a:pt x="9014" y="550"/>
                  <a:pt x="9014" y="550"/>
                </a:cubicBezTo>
                <a:cubicBezTo>
                  <a:pt x="9014" y="550"/>
                  <a:pt x="8965" y="544"/>
                  <a:pt x="8961" y="547"/>
                </a:cubicBezTo>
                <a:cubicBezTo>
                  <a:pt x="8957" y="550"/>
                  <a:pt x="8948" y="550"/>
                  <a:pt x="8948" y="558"/>
                </a:cubicBezTo>
                <a:cubicBezTo>
                  <a:pt x="8948" y="566"/>
                  <a:pt x="8974" y="580"/>
                  <a:pt x="8974" y="580"/>
                </a:cubicBezTo>
                <a:cubicBezTo>
                  <a:pt x="8961" y="600"/>
                  <a:pt x="8961" y="600"/>
                  <a:pt x="8961" y="600"/>
                </a:cubicBezTo>
                <a:cubicBezTo>
                  <a:pt x="8952" y="593"/>
                  <a:pt x="8952" y="593"/>
                  <a:pt x="8952" y="593"/>
                </a:cubicBezTo>
                <a:cubicBezTo>
                  <a:pt x="8952" y="610"/>
                  <a:pt x="8952" y="610"/>
                  <a:pt x="8952" y="610"/>
                </a:cubicBezTo>
                <a:cubicBezTo>
                  <a:pt x="8952" y="610"/>
                  <a:pt x="8928" y="609"/>
                  <a:pt x="8928" y="604"/>
                </a:cubicBezTo>
                <a:cubicBezTo>
                  <a:pt x="8928" y="599"/>
                  <a:pt x="8933" y="577"/>
                  <a:pt x="8919" y="578"/>
                </a:cubicBezTo>
                <a:cubicBezTo>
                  <a:pt x="8905" y="579"/>
                  <a:pt x="8869" y="602"/>
                  <a:pt x="8864" y="605"/>
                </a:cubicBezTo>
                <a:cubicBezTo>
                  <a:pt x="8859" y="608"/>
                  <a:pt x="8848" y="594"/>
                  <a:pt x="8827" y="596"/>
                </a:cubicBezTo>
                <a:cubicBezTo>
                  <a:pt x="8806" y="598"/>
                  <a:pt x="8782" y="609"/>
                  <a:pt x="8780" y="617"/>
                </a:cubicBezTo>
                <a:cubicBezTo>
                  <a:pt x="8778" y="625"/>
                  <a:pt x="8731" y="621"/>
                  <a:pt x="8731" y="621"/>
                </a:cubicBezTo>
                <a:cubicBezTo>
                  <a:pt x="8739" y="604"/>
                  <a:pt x="8739" y="604"/>
                  <a:pt x="8739" y="604"/>
                </a:cubicBezTo>
                <a:cubicBezTo>
                  <a:pt x="8738" y="580"/>
                  <a:pt x="8738" y="580"/>
                  <a:pt x="8738" y="580"/>
                </a:cubicBezTo>
                <a:cubicBezTo>
                  <a:pt x="8738" y="580"/>
                  <a:pt x="8694" y="588"/>
                  <a:pt x="8694" y="597"/>
                </a:cubicBezTo>
                <a:cubicBezTo>
                  <a:pt x="8694" y="606"/>
                  <a:pt x="8700" y="613"/>
                  <a:pt x="8700" y="613"/>
                </a:cubicBezTo>
                <a:cubicBezTo>
                  <a:pt x="8682" y="614"/>
                  <a:pt x="8682" y="614"/>
                  <a:pt x="8682" y="614"/>
                </a:cubicBezTo>
                <a:cubicBezTo>
                  <a:pt x="8682" y="599"/>
                  <a:pt x="8682" y="599"/>
                  <a:pt x="8682" y="599"/>
                </a:cubicBezTo>
                <a:cubicBezTo>
                  <a:pt x="8668" y="604"/>
                  <a:pt x="8668" y="604"/>
                  <a:pt x="8668" y="604"/>
                </a:cubicBezTo>
                <a:cubicBezTo>
                  <a:pt x="8633" y="607"/>
                  <a:pt x="8633" y="607"/>
                  <a:pt x="8633" y="607"/>
                </a:cubicBezTo>
                <a:cubicBezTo>
                  <a:pt x="8604" y="627"/>
                  <a:pt x="8604" y="627"/>
                  <a:pt x="8604" y="627"/>
                </a:cubicBezTo>
                <a:cubicBezTo>
                  <a:pt x="8571" y="630"/>
                  <a:pt x="8571" y="630"/>
                  <a:pt x="8571" y="630"/>
                </a:cubicBezTo>
                <a:cubicBezTo>
                  <a:pt x="8578" y="643"/>
                  <a:pt x="8578" y="643"/>
                  <a:pt x="8578" y="643"/>
                </a:cubicBezTo>
                <a:cubicBezTo>
                  <a:pt x="8578" y="643"/>
                  <a:pt x="8552" y="637"/>
                  <a:pt x="8549" y="648"/>
                </a:cubicBezTo>
                <a:cubicBezTo>
                  <a:pt x="8546" y="659"/>
                  <a:pt x="8549" y="674"/>
                  <a:pt x="8549" y="674"/>
                </a:cubicBezTo>
                <a:cubicBezTo>
                  <a:pt x="8498" y="680"/>
                  <a:pt x="8498" y="680"/>
                  <a:pt x="8498" y="680"/>
                </a:cubicBezTo>
                <a:cubicBezTo>
                  <a:pt x="8498" y="680"/>
                  <a:pt x="8483" y="669"/>
                  <a:pt x="8478" y="668"/>
                </a:cubicBezTo>
                <a:cubicBezTo>
                  <a:pt x="8473" y="667"/>
                  <a:pt x="8451" y="673"/>
                  <a:pt x="8451" y="659"/>
                </a:cubicBezTo>
                <a:cubicBezTo>
                  <a:pt x="8451" y="645"/>
                  <a:pt x="8451" y="628"/>
                  <a:pt x="8468" y="634"/>
                </a:cubicBezTo>
                <a:cubicBezTo>
                  <a:pt x="8485" y="640"/>
                  <a:pt x="8506" y="634"/>
                  <a:pt x="8506" y="634"/>
                </a:cubicBezTo>
                <a:cubicBezTo>
                  <a:pt x="8506" y="634"/>
                  <a:pt x="8468" y="603"/>
                  <a:pt x="8462" y="600"/>
                </a:cubicBezTo>
                <a:cubicBezTo>
                  <a:pt x="8456" y="597"/>
                  <a:pt x="8381" y="598"/>
                  <a:pt x="8381" y="598"/>
                </a:cubicBezTo>
                <a:cubicBezTo>
                  <a:pt x="8387" y="607"/>
                  <a:pt x="8387" y="607"/>
                  <a:pt x="8387" y="607"/>
                </a:cubicBezTo>
                <a:cubicBezTo>
                  <a:pt x="8387" y="607"/>
                  <a:pt x="8418" y="602"/>
                  <a:pt x="8413" y="622"/>
                </a:cubicBezTo>
                <a:cubicBezTo>
                  <a:pt x="8408" y="642"/>
                  <a:pt x="8398" y="671"/>
                  <a:pt x="8405" y="671"/>
                </a:cubicBezTo>
                <a:cubicBezTo>
                  <a:pt x="8412" y="671"/>
                  <a:pt x="8438" y="679"/>
                  <a:pt x="8438" y="679"/>
                </a:cubicBezTo>
                <a:cubicBezTo>
                  <a:pt x="8436" y="704"/>
                  <a:pt x="8436" y="704"/>
                  <a:pt x="8436" y="704"/>
                </a:cubicBezTo>
                <a:cubicBezTo>
                  <a:pt x="8442" y="723"/>
                  <a:pt x="8442" y="723"/>
                  <a:pt x="8442" y="723"/>
                </a:cubicBezTo>
                <a:cubicBezTo>
                  <a:pt x="8421" y="709"/>
                  <a:pt x="8421" y="709"/>
                  <a:pt x="8421" y="709"/>
                </a:cubicBezTo>
                <a:cubicBezTo>
                  <a:pt x="8406" y="725"/>
                  <a:pt x="8406" y="725"/>
                  <a:pt x="8406" y="725"/>
                </a:cubicBezTo>
                <a:cubicBezTo>
                  <a:pt x="8403" y="703"/>
                  <a:pt x="8403" y="703"/>
                  <a:pt x="8403" y="703"/>
                </a:cubicBezTo>
                <a:cubicBezTo>
                  <a:pt x="8357" y="691"/>
                  <a:pt x="8357" y="691"/>
                  <a:pt x="8357" y="691"/>
                </a:cubicBezTo>
                <a:cubicBezTo>
                  <a:pt x="8337" y="716"/>
                  <a:pt x="8337" y="716"/>
                  <a:pt x="8337" y="716"/>
                </a:cubicBezTo>
                <a:cubicBezTo>
                  <a:pt x="8319" y="717"/>
                  <a:pt x="8319" y="717"/>
                  <a:pt x="8319" y="717"/>
                </a:cubicBezTo>
                <a:cubicBezTo>
                  <a:pt x="8319" y="717"/>
                  <a:pt x="8313" y="728"/>
                  <a:pt x="8303" y="732"/>
                </a:cubicBezTo>
                <a:cubicBezTo>
                  <a:pt x="8293" y="736"/>
                  <a:pt x="8273" y="740"/>
                  <a:pt x="8281" y="747"/>
                </a:cubicBezTo>
                <a:cubicBezTo>
                  <a:pt x="8289" y="754"/>
                  <a:pt x="8321" y="777"/>
                  <a:pt x="8321" y="777"/>
                </a:cubicBezTo>
                <a:cubicBezTo>
                  <a:pt x="8333" y="794"/>
                  <a:pt x="8333" y="794"/>
                  <a:pt x="8333" y="794"/>
                </a:cubicBezTo>
                <a:cubicBezTo>
                  <a:pt x="8313" y="785"/>
                  <a:pt x="8313" y="785"/>
                  <a:pt x="8313" y="785"/>
                </a:cubicBezTo>
                <a:cubicBezTo>
                  <a:pt x="8313" y="785"/>
                  <a:pt x="8295" y="795"/>
                  <a:pt x="8282" y="789"/>
                </a:cubicBezTo>
                <a:cubicBezTo>
                  <a:pt x="8269" y="783"/>
                  <a:pt x="8226" y="776"/>
                  <a:pt x="8226" y="776"/>
                </a:cubicBezTo>
                <a:cubicBezTo>
                  <a:pt x="8226" y="776"/>
                  <a:pt x="8220" y="752"/>
                  <a:pt x="8205" y="758"/>
                </a:cubicBezTo>
                <a:cubicBezTo>
                  <a:pt x="8190" y="764"/>
                  <a:pt x="8182" y="770"/>
                  <a:pt x="8182" y="770"/>
                </a:cubicBezTo>
                <a:cubicBezTo>
                  <a:pt x="8170" y="771"/>
                  <a:pt x="8170" y="771"/>
                  <a:pt x="8170" y="771"/>
                </a:cubicBezTo>
                <a:cubicBezTo>
                  <a:pt x="8200" y="797"/>
                  <a:pt x="8200" y="797"/>
                  <a:pt x="8200" y="797"/>
                </a:cubicBezTo>
                <a:cubicBezTo>
                  <a:pt x="8200" y="797"/>
                  <a:pt x="8240" y="798"/>
                  <a:pt x="8240" y="805"/>
                </a:cubicBezTo>
                <a:cubicBezTo>
                  <a:pt x="8240" y="812"/>
                  <a:pt x="8222" y="823"/>
                  <a:pt x="8222" y="823"/>
                </a:cubicBezTo>
                <a:cubicBezTo>
                  <a:pt x="8180" y="813"/>
                  <a:pt x="8180" y="813"/>
                  <a:pt x="8180" y="813"/>
                </a:cubicBezTo>
                <a:cubicBezTo>
                  <a:pt x="8180" y="813"/>
                  <a:pt x="8165" y="799"/>
                  <a:pt x="8155" y="798"/>
                </a:cubicBezTo>
                <a:cubicBezTo>
                  <a:pt x="8145" y="797"/>
                  <a:pt x="8119" y="808"/>
                  <a:pt x="8117" y="794"/>
                </a:cubicBezTo>
                <a:cubicBezTo>
                  <a:pt x="8115" y="780"/>
                  <a:pt x="8116" y="764"/>
                  <a:pt x="8116" y="764"/>
                </a:cubicBezTo>
                <a:cubicBezTo>
                  <a:pt x="8103" y="756"/>
                  <a:pt x="8103" y="756"/>
                  <a:pt x="8103" y="756"/>
                </a:cubicBezTo>
                <a:cubicBezTo>
                  <a:pt x="8103" y="756"/>
                  <a:pt x="8124" y="738"/>
                  <a:pt x="8116" y="729"/>
                </a:cubicBezTo>
                <a:cubicBezTo>
                  <a:pt x="8108" y="720"/>
                  <a:pt x="8052" y="705"/>
                  <a:pt x="8052" y="705"/>
                </a:cubicBezTo>
                <a:cubicBezTo>
                  <a:pt x="8032" y="690"/>
                  <a:pt x="8032" y="690"/>
                  <a:pt x="8032" y="690"/>
                </a:cubicBezTo>
                <a:cubicBezTo>
                  <a:pt x="8016" y="679"/>
                  <a:pt x="8016" y="679"/>
                  <a:pt x="8016" y="679"/>
                </a:cubicBezTo>
                <a:cubicBezTo>
                  <a:pt x="8006" y="669"/>
                  <a:pt x="8006" y="669"/>
                  <a:pt x="8006" y="669"/>
                </a:cubicBezTo>
                <a:cubicBezTo>
                  <a:pt x="8032" y="668"/>
                  <a:pt x="8032" y="668"/>
                  <a:pt x="8032" y="668"/>
                </a:cubicBezTo>
                <a:cubicBezTo>
                  <a:pt x="8032" y="668"/>
                  <a:pt x="8027" y="677"/>
                  <a:pt x="8046" y="681"/>
                </a:cubicBezTo>
                <a:cubicBezTo>
                  <a:pt x="8065" y="685"/>
                  <a:pt x="8090" y="682"/>
                  <a:pt x="8090" y="682"/>
                </a:cubicBezTo>
                <a:cubicBezTo>
                  <a:pt x="8090" y="682"/>
                  <a:pt x="8106" y="700"/>
                  <a:pt x="8118" y="702"/>
                </a:cubicBezTo>
                <a:cubicBezTo>
                  <a:pt x="8130" y="704"/>
                  <a:pt x="8184" y="709"/>
                  <a:pt x="8184" y="709"/>
                </a:cubicBezTo>
                <a:cubicBezTo>
                  <a:pt x="8184" y="709"/>
                  <a:pt x="8221" y="725"/>
                  <a:pt x="8264" y="714"/>
                </a:cubicBezTo>
                <a:cubicBezTo>
                  <a:pt x="8307" y="703"/>
                  <a:pt x="8349" y="688"/>
                  <a:pt x="8327" y="668"/>
                </a:cubicBezTo>
                <a:cubicBezTo>
                  <a:pt x="8305" y="648"/>
                  <a:pt x="8304" y="635"/>
                  <a:pt x="8275" y="629"/>
                </a:cubicBezTo>
                <a:cubicBezTo>
                  <a:pt x="8246" y="623"/>
                  <a:pt x="8206" y="608"/>
                  <a:pt x="8187" y="601"/>
                </a:cubicBezTo>
                <a:cubicBezTo>
                  <a:pt x="8168" y="594"/>
                  <a:pt x="8134" y="577"/>
                  <a:pt x="8114" y="576"/>
                </a:cubicBezTo>
                <a:cubicBezTo>
                  <a:pt x="8094" y="575"/>
                  <a:pt x="8075" y="575"/>
                  <a:pt x="8063" y="575"/>
                </a:cubicBezTo>
                <a:cubicBezTo>
                  <a:pt x="8051" y="575"/>
                  <a:pt x="8029" y="575"/>
                  <a:pt x="8029" y="575"/>
                </a:cubicBezTo>
                <a:cubicBezTo>
                  <a:pt x="8021" y="565"/>
                  <a:pt x="8021" y="565"/>
                  <a:pt x="8021" y="565"/>
                </a:cubicBezTo>
                <a:cubicBezTo>
                  <a:pt x="8002" y="566"/>
                  <a:pt x="8002" y="566"/>
                  <a:pt x="8002" y="566"/>
                </a:cubicBezTo>
                <a:cubicBezTo>
                  <a:pt x="7981" y="557"/>
                  <a:pt x="7981" y="557"/>
                  <a:pt x="7981" y="557"/>
                </a:cubicBezTo>
                <a:cubicBezTo>
                  <a:pt x="8002" y="552"/>
                  <a:pt x="8002" y="552"/>
                  <a:pt x="8002" y="552"/>
                </a:cubicBezTo>
                <a:cubicBezTo>
                  <a:pt x="8014" y="544"/>
                  <a:pt x="8014" y="544"/>
                  <a:pt x="8014" y="544"/>
                </a:cubicBezTo>
                <a:cubicBezTo>
                  <a:pt x="8014" y="544"/>
                  <a:pt x="7971" y="528"/>
                  <a:pt x="7965" y="534"/>
                </a:cubicBezTo>
                <a:cubicBezTo>
                  <a:pt x="7959" y="540"/>
                  <a:pt x="7956" y="549"/>
                  <a:pt x="7956" y="549"/>
                </a:cubicBezTo>
                <a:cubicBezTo>
                  <a:pt x="7939" y="549"/>
                  <a:pt x="7939" y="549"/>
                  <a:pt x="7939" y="549"/>
                </a:cubicBezTo>
                <a:cubicBezTo>
                  <a:pt x="7922" y="552"/>
                  <a:pt x="7922" y="552"/>
                  <a:pt x="7922" y="552"/>
                </a:cubicBezTo>
                <a:cubicBezTo>
                  <a:pt x="7894" y="545"/>
                  <a:pt x="7894" y="545"/>
                  <a:pt x="7894" y="545"/>
                </a:cubicBezTo>
                <a:cubicBezTo>
                  <a:pt x="7874" y="534"/>
                  <a:pt x="7874" y="534"/>
                  <a:pt x="7874" y="534"/>
                </a:cubicBezTo>
                <a:cubicBezTo>
                  <a:pt x="7874" y="534"/>
                  <a:pt x="7900" y="538"/>
                  <a:pt x="7911" y="533"/>
                </a:cubicBezTo>
                <a:cubicBezTo>
                  <a:pt x="7922" y="528"/>
                  <a:pt x="7940" y="522"/>
                  <a:pt x="7940" y="522"/>
                </a:cubicBezTo>
                <a:cubicBezTo>
                  <a:pt x="7940" y="522"/>
                  <a:pt x="7914" y="507"/>
                  <a:pt x="7900" y="507"/>
                </a:cubicBezTo>
                <a:cubicBezTo>
                  <a:pt x="7886" y="507"/>
                  <a:pt x="7865" y="496"/>
                  <a:pt x="7865" y="496"/>
                </a:cubicBezTo>
                <a:cubicBezTo>
                  <a:pt x="7865" y="496"/>
                  <a:pt x="7857" y="522"/>
                  <a:pt x="7841" y="519"/>
                </a:cubicBezTo>
                <a:cubicBezTo>
                  <a:pt x="7825" y="516"/>
                  <a:pt x="7853" y="498"/>
                  <a:pt x="7853" y="498"/>
                </a:cubicBezTo>
                <a:cubicBezTo>
                  <a:pt x="7809" y="483"/>
                  <a:pt x="7809" y="483"/>
                  <a:pt x="7809" y="483"/>
                </a:cubicBezTo>
                <a:cubicBezTo>
                  <a:pt x="7809" y="483"/>
                  <a:pt x="7801" y="532"/>
                  <a:pt x="7787" y="526"/>
                </a:cubicBezTo>
                <a:cubicBezTo>
                  <a:pt x="7773" y="520"/>
                  <a:pt x="7784" y="494"/>
                  <a:pt x="7784" y="494"/>
                </a:cubicBezTo>
                <a:cubicBezTo>
                  <a:pt x="7784" y="494"/>
                  <a:pt x="7746" y="538"/>
                  <a:pt x="7736" y="531"/>
                </a:cubicBezTo>
                <a:cubicBezTo>
                  <a:pt x="7726" y="524"/>
                  <a:pt x="7772" y="488"/>
                  <a:pt x="7772" y="488"/>
                </a:cubicBezTo>
                <a:cubicBezTo>
                  <a:pt x="7749" y="486"/>
                  <a:pt x="7749" y="486"/>
                  <a:pt x="7749" y="486"/>
                </a:cubicBezTo>
                <a:cubicBezTo>
                  <a:pt x="7737" y="496"/>
                  <a:pt x="7737" y="496"/>
                  <a:pt x="7737" y="496"/>
                </a:cubicBezTo>
                <a:cubicBezTo>
                  <a:pt x="7721" y="494"/>
                  <a:pt x="7721" y="494"/>
                  <a:pt x="7721" y="494"/>
                </a:cubicBezTo>
                <a:cubicBezTo>
                  <a:pt x="7691" y="512"/>
                  <a:pt x="7691" y="512"/>
                  <a:pt x="7691" y="512"/>
                </a:cubicBezTo>
                <a:cubicBezTo>
                  <a:pt x="7675" y="513"/>
                  <a:pt x="7675" y="513"/>
                  <a:pt x="7675" y="513"/>
                </a:cubicBezTo>
                <a:cubicBezTo>
                  <a:pt x="7673" y="533"/>
                  <a:pt x="7673" y="533"/>
                  <a:pt x="7673" y="533"/>
                </a:cubicBezTo>
                <a:cubicBezTo>
                  <a:pt x="7649" y="524"/>
                  <a:pt x="7649" y="524"/>
                  <a:pt x="7649" y="524"/>
                </a:cubicBezTo>
                <a:cubicBezTo>
                  <a:pt x="7623" y="529"/>
                  <a:pt x="7623" y="529"/>
                  <a:pt x="7623" y="529"/>
                </a:cubicBezTo>
                <a:cubicBezTo>
                  <a:pt x="7631" y="547"/>
                  <a:pt x="7631" y="547"/>
                  <a:pt x="7631" y="547"/>
                </a:cubicBezTo>
                <a:cubicBezTo>
                  <a:pt x="7600" y="538"/>
                  <a:pt x="7600" y="538"/>
                  <a:pt x="7600" y="538"/>
                </a:cubicBezTo>
                <a:cubicBezTo>
                  <a:pt x="7589" y="544"/>
                  <a:pt x="7589" y="544"/>
                  <a:pt x="7589" y="544"/>
                </a:cubicBezTo>
                <a:cubicBezTo>
                  <a:pt x="7592" y="560"/>
                  <a:pt x="7592" y="560"/>
                  <a:pt x="7592" y="560"/>
                </a:cubicBezTo>
                <a:cubicBezTo>
                  <a:pt x="7562" y="566"/>
                  <a:pt x="7562" y="566"/>
                  <a:pt x="7562" y="566"/>
                </a:cubicBezTo>
                <a:cubicBezTo>
                  <a:pt x="7565" y="545"/>
                  <a:pt x="7565" y="545"/>
                  <a:pt x="7565" y="545"/>
                </a:cubicBezTo>
                <a:cubicBezTo>
                  <a:pt x="7545" y="545"/>
                  <a:pt x="7545" y="545"/>
                  <a:pt x="7545" y="545"/>
                </a:cubicBezTo>
                <a:cubicBezTo>
                  <a:pt x="7551" y="558"/>
                  <a:pt x="7551" y="558"/>
                  <a:pt x="7551" y="558"/>
                </a:cubicBezTo>
                <a:cubicBezTo>
                  <a:pt x="7535" y="548"/>
                  <a:pt x="7535" y="548"/>
                  <a:pt x="7535" y="548"/>
                </a:cubicBezTo>
                <a:cubicBezTo>
                  <a:pt x="7537" y="568"/>
                  <a:pt x="7537" y="568"/>
                  <a:pt x="7537" y="568"/>
                </a:cubicBezTo>
                <a:cubicBezTo>
                  <a:pt x="7520" y="567"/>
                  <a:pt x="7520" y="567"/>
                  <a:pt x="7520" y="567"/>
                </a:cubicBezTo>
                <a:cubicBezTo>
                  <a:pt x="7520" y="567"/>
                  <a:pt x="7517" y="554"/>
                  <a:pt x="7519" y="551"/>
                </a:cubicBezTo>
                <a:cubicBezTo>
                  <a:pt x="7521" y="548"/>
                  <a:pt x="7532" y="538"/>
                  <a:pt x="7532" y="538"/>
                </a:cubicBezTo>
                <a:cubicBezTo>
                  <a:pt x="7509" y="535"/>
                  <a:pt x="7509" y="535"/>
                  <a:pt x="7509" y="535"/>
                </a:cubicBezTo>
                <a:cubicBezTo>
                  <a:pt x="7506" y="564"/>
                  <a:pt x="7506" y="564"/>
                  <a:pt x="7506" y="564"/>
                </a:cubicBezTo>
                <a:cubicBezTo>
                  <a:pt x="7488" y="573"/>
                  <a:pt x="7488" y="573"/>
                  <a:pt x="7488" y="573"/>
                </a:cubicBezTo>
                <a:cubicBezTo>
                  <a:pt x="7498" y="581"/>
                  <a:pt x="7498" y="581"/>
                  <a:pt x="7498" y="581"/>
                </a:cubicBezTo>
                <a:cubicBezTo>
                  <a:pt x="7476" y="584"/>
                  <a:pt x="7476" y="584"/>
                  <a:pt x="7476" y="584"/>
                </a:cubicBezTo>
                <a:cubicBezTo>
                  <a:pt x="7484" y="592"/>
                  <a:pt x="7484" y="592"/>
                  <a:pt x="7484" y="592"/>
                </a:cubicBezTo>
                <a:cubicBezTo>
                  <a:pt x="7456" y="593"/>
                  <a:pt x="7456" y="593"/>
                  <a:pt x="7456" y="593"/>
                </a:cubicBezTo>
                <a:cubicBezTo>
                  <a:pt x="7456" y="601"/>
                  <a:pt x="7456" y="601"/>
                  <a:pt x="7456" y="601"/>
                </a:cubicBezTo>
                <a:cubicBezTo>
                  <a:pt x="7477" y="606"/>
                  <a:pt x="7477" y="606"/>
                  <a:pt x="7477" y="606"/>
                </a:cubicBezTo>
                <a:cubicBezTo>
                  <a:pt x="7470" y="615"/>
                  <a:pt x="7470" y="615"/>
                  <a:pt x="7470" y="615"/>
                </a:cubicBezTo>
                <a:cubicBezTo>
                  <a:pt x="7446" y="605"/>
                  <a:pt x="7446" y="605"/>
                  <a:pt x="7446" y="605"/>
                </a:cubicBezTo>
                <a:cubicBezTo>
                  <a:pt x="7437" y="606"/>
                  <a:pt x="7437" y="606"/>
                  <a:pt x="7437" y="606"/>
                </a:cubicBezTo>
                <a:cubicBezTo>
                  <a:pt x="7453" y="617"/>
                  <a:pt x="7453" y="617"/>
                  <a:pt x="7453" y="617"/>
                </a:cubicBezTo>
                <a:cubicBezTo>
                  <a:pt x="7438" y="628"/>
                  <a:pt x="7438" y="628"/>
                  <a:pt x="7438" y="628"/>
                </a:cubicBezTo>
                <a:cubicBezTo>
                  <a:pt x="7430" y="615"/>
                  <a:pt x="7430" y="615"/>
                  <a:pt x="7430" y="615"/>
                </a:cubicBezTo>
                <a:cubicBezTo>
                  <a:pt x="7420" y="621"/>
                  <a:pt x="7420" y="621"/>
                  <a:pt x="7420" y="621"/>
                </a:cubicBezTo>
                <a:cubicBezTo>
                  <a:pt x="7421" y="626"/>
                  <a:pt x="7421" y="626"/>
                  <a:pt x="7421" y="626"/>
                </a:cubicBezTo>
                <a:cubicBezTo>
                  <a:pt x="7398" y="627"/>
                  <a:pt x="7398" y="627"/>
                  <a:pt x="7398" y="627"/>
                </a:cubicBezTo>
                <a:cubicBezTo>
                  <a:pt x="7395" y="636"/>
                  <a:pt x="7395" y="636"/>
                  <a:pt x="7395" y="636"/>
                </a:cubicBezTo>
                <a:cubicBezTo>
                  <a:pt x="7412" y="645"/>
                  <a:pt x="7412" y="645"/>
                  <a:pt x="7412" y="645"/>
                </a:cubicBezTo>
                <a:cubicBezTo>
                  <a:pt x="7410" y="655"/>
                  <a:pt x="7410" y="655"/>
                  <a:pt x="7410" y="655"/>
                </a:cubicBezTo>
                <a:cubicBezTo>
                  <a:pt x="7388" y="647"/>
                  <a:pt x="7388" y="647"/>
                  <a:pt x="7388" y="647"/>
                </a:cubicBezTo>
                <a:cubicBezTo>
                  <a:pt x="7385" y="657"/>
                  <a:pt x="7385" y="657"/>
                  <a:pt x="7385" y="657"/>
                </a:cubicBezTo>
                <a:cubicBezTo>
                  <a:pt x="7403" y="662"/>
                  <a:pt x="7403" y="662"/>
                  <a:pt x="7403" y="662"/>
                </a:cubicBezTo>
                <a:cubicBezTo>
                  <a:pt x="7403" y="662"/>
                  <a:pt x="7382" y="663"/>
                  <a:pt x="7375" y="664"/>
                </a:cubicBezTo>
                <a:cubicBezTo>
                  <a:pt x="7368" y="665"/>
                  <a:pt x="7372" y="675"/>
                  <a:pt x="7372" y="675"/>
                </a:cubicBezTo>
                <a:cubicBezTo>
                  <a:pt x="7372" y="675"/>
                  <a:pt x="7359" y="668"/>
                  <a:pt x="7351" y="674"/>
                </a:cubicBezTo>
                <a:cubicBezTo>
                  <a:pt x="7343" y="680"/>
                  <a:pt x="7336" y="685"/>
                  <a:pt x="7341" y="688"/>
                </a:cubicBezTo>
                <a:cubicBezTo>
                  <a:pt x="7346" y="691"/>
                  <a:pt x="7335" y="697"/>
                  <a:pt x="7335" y="697"/>
                </a:cubicBezTo>
                <a:cubicBezTo>
                  <a:pt x="7335" y="697"/>
                  <a:pt x="7328" y="706"/>
                  <a:pt x="7331" y="707"/>
                </a:cubicBezTo>
                <a:cubicBezTo>
                  <a:pt x="7334" y="708"/>
                  <a:pt x="7354" y="709"/>
                  <a:pt x="7354" y="709"/>
                </a:cubicBezTo>
                <a:cubicBezTo>
                  <a:pt x="7347" y="717"/>
                  <a:pt x="7347" y="717"/>
                  <a:pt x="7347" y="717"/>
                </a:cubicBezTo>
                <a:cubicBezTo>
                  <a:pt x="7324" y="713"/>
                  <a:pt x="7324" y="713"/>
                  <a:pt x="7324" y="713"/>
                </a:cubicBezTo>
                <a:cubicBezTo>
                  <a:pt x="7324" y="713"/>
                  <a:pt x="7311" y="715"/>
                  <a:pt x="7311" y="723"/>
                </a:cubicBezTo>
                <a:cubicBezTo>
                  <a:pt x="7311" y="731"/>
                  <a:pt x="7321" y="737"/>
                  <a:pt x="7317" y="740"/>
                </a:cubicBezTo>
                <a:cubicBezTo>
                  <a:pt x="7313" y="743"/>
                  <a:pt x="7309" y="743"/>
                  <a:pt x="7304" y="743"/>
                </a:cubicBezTo>
                <a:cubicBezTo>
                  <a:pt x="7299" y="743"/>
                  <a:pt x="7293" y="744"/>
                  <a:pt x="7295" y="751"/>
                </a:cubicBezTo>
                <a:cubicBezTo>
                  <a:pt x="7297" y="758"/>
                  <a:pt x="7305" y="762"/>
                  <a:pt x="7305" y="762"/>
                </a:cubicBezTo>
                <a:cubicBezTo>
                  <a:pt x="7305" y="762"/>
                  <a:pt x="7311" y="773"/>
                  <a:pt x="7304" y="774"/>
                </a:cubicBezTo>
                <a:cubicBezTo>
                  <a:pt x="7297" y="775"/>
                  <a:pt x="7290" y="774"/>
                  <a:pt x="7287" y="774"/>
                </a:cubicBezTo>
                <a:cubicBezTo>
                  <a:pt x="7284" y="774"/>
                  <a:pt x="7281" y="775"/>
                  <a:pt x="7278" y="779"/>
                </a:cubicBezTo>
                <a:cubicBezTo>
                  <a:pt x="7275" y="783"/>
                  <a:pt x="7275" y="790"/>
                  <a:pt x="7275" y="790"/>
                </a:cubicBezTo>
                <a:cubicBezTo>
                  <a:pt x="7275" y="790"/>
                  <a:pt x="7277" y="797"/>
                  <a:pt x="7270" y="797"/>
                </a:cubicBezTo>
                <a:cubicBezTo>
                  <a:pt x="7263" y="797"/>
                  <a:pt x="7260" y="790"/>
                  <a:pt x="7254" y="791"/>
                </a:cubicBezTo>
                <a:cubicBezTo>
                  <a:pt x="7248" y="792"/>
                  <a:pt x="7250" y="792"/>
                  <a:pt x="7245" y="796"/>
                </a:cubicBezTo>
                <a:cubicBezTo>
                  <a:pt x="7240" y="800"/>
                  <a:pt x="7240" y="801"/>
                  <a:pt x="7237" y="805"/>
                </a:cubicBezTo>
                <a:cubicBezTo>
                  <a:pt x="7234" y="809"/>
                  <a:pt x="7225" y="809"/>
                  <a:pt x="7225" y="809"/>
                </a:cubicBezTo>
                <a:cubicBezTo>
                  <a:pt x="7225" y="809"/>
                  <a:pt x="7221" y="810"/>
                  <a:pt x="7218" y="816"/>
                </a:cubicBezTo>
                <a:cubicBezTo>
                  <a:pt x="7215" y="822"/>
                  <a:pt x="7224" y="826"/>
                  <a:pt x="7219" y="829"/>
                </a:cubicBezTo>
                <a:cubicBezTo>
                  <a:pt x="7214" y="832"/>
                  <a:pt x="7213" y="834"/>
                  <a:pt x="7208" y="834"/>
                </a:cubicBezTo>
                <a:cubicBezTo>
                  <a:pt x="7203" y="834"/>
                  <a:pt x="7194" y="829"/>
                  <a:pt x="7191" y="829"/>
                </a:cubicBezTo>
                <a:cubicBezTo>
                  <a:pt x="7188" y="829"/>
                  <a:pt x="7195" y="821"/>
                  <a:pt x="7182" y="828"/>
                </a:cubicBezTo>
                <a:cubicBezTo>
                  <a:pt x="7169" y="835"/>
                  <a:pt x="7168" y="836"/>
                  <a:pt x="7164" y="835"/>
                </a:cubicBezTo>
                <a:cubicBezTo>
                  <a:pt x="7160" y="834"/>
                  <a:pt x="7155" y="832"/>
                  <a:pt x="7156" y="842"/>
                </a:cubicBezTo>
                <a:cubicBezTo>
                  <a:pt x="7157" y="852"/>
                  <a:pt x="7163" y="851"/>
                  <a:pt x="7164" y="854"/>
                </a:cubicBezTo>
                <a:cubicBezTo>
                  <a:pt x="7165" y="857"/>
                  <a:pt x="7168" y="865"/>
                  <a:pt x="7160" y="861"/>
                </a:cubicBezTo>
                <a:cubicBezTo>
                  <a:pt x="7152" y="857"/>
                  <a:pt x="7151" y="848"/>
                  <a:pt x="7146" y="851"/>
                </a:cubicBezTo>
                <a:cubicBezTo>
                  <a:pt x="7141" y="854"/>
                  <a:pt x="7135" y="861"/>
                  <a:pt x="7140" y="864"/>
                </a:cubicBezTo>
                <a:cubicBezTo>
                  <a:pt x="7145" y="867"/>
                  <a:pt x="7160" y="863"/>
                  <a:pt x="7157" y="869"/>
                </a:cubicBezTo>
                <a:cubicBezTo>
                  <a:pt x="7154" y="875"/>
                  <a:pt x="7164" y="878"/>
                  <a:pt x="7149" y="876"/>
                </a:cubicBezTo>
                <a:cubicBezTo>
                  <a:pt x="7134" y="874"/>
                  <a:pt x="7130" y="874"/>
                  <a:pt x="7130" y="874"/>
                </a:cubicBezTo>
                <a:cubicBezTo>
                  <a:pt x="7130" y="874"/>
                  <a:pt x="7132" y="868"/>
                  <a:pt x="7126" y="873"/>
                </a:cubicBezTo>
                <a:cubicBezTo>
                  <a:pt x="7120" y="878"/>
                  <a:pt x="7122" y="887"/>
                  <a:pt x="7122" y="887"/>
                </a:cubicBezTo>
                <a:cubicBezTo>
                  <a:pt x="7122" y="887"/>
                  <a:pt x="7093" y="874"/>
                  <a:pt x="7097" y="882"/>
                </a:cubicBezTo>
                <a:cubicBezTo>
                  <a:pt x="7101" y="890"/>
                  <a:pt x="7123" y="895"/>
                  <a:pt x="7123" y="895"/>
                </a:cubicBezTo>
                <a:cubicBezTo>
                  <a:pt x="7110" y="909"/>
                  <a:pt x="7110" y="909"/>
                  <a:pt x="7110" y="909"/>
                </a:cubicBezTo>
                <a:cubicBezTo>
                  <a:pt x="7110" y="909"/>
                  <a:pt x="7111" y="899"/>
                  <a:pt x="7104" y="898"/>
                </a:cubicBezTo>
                <a:cubicBezTo>
                  <a:pt x="7097" y="897"/>
                  <a:pt x="7091" y="905"/>
                  <a:pt x="7091" y="905"/>
                </a:cubicBezTo>
                <a:cubicBezTo>
                  <a:pt x="7078" y="894"/>
                  <a:pt x="7078" y="894"/>
                  <a:pt x="7078" y="894"/>
                </a:cubicBezTo>
                <a:cubicBezTo>
                  <a:pt x="7072" y="903"/>
                  <a:pt x="7072" y="903"/>
                  <a:pt x="7072" y="903"/>
                </a:cubicBezTo>
                <a:cubicBezTo>
                  <a:pt x="7081" y="906"/>
                  <a:pt x="7081" y="906"/>
                  <a:pt x="7081" y="906"/>
                </a:cubicBezTo>
                <a:cubicBezTo>
                  <a:pt x="7058" y="905"/>
                  <a:pt x="7058" y="905"/>
                  <a:pt x="7058" y="905"/>
                </a:cubicBezTo>
                <a:cubicBezTo>
                  <a:pt x="7057" y="914"/>
                  <a:pt x="7057" y="914"/>
                  <a:pt x="7057" y="914"/>
                </a:cubicBezTo>
                <a:cubicBezTo>
                  <a:pt x="7090" y="916"/>
                  <a:pt x="7090" y="916"/>
                  <a:pt x="7090" y="916"/>
                </a:cubicBezTo>
                <a:cubicBezTo>
                  <a:pt x="7073" y="921"/>
                  <a:pt x="7073" y="921"/>
                  <a:pt x="7073" y="921"/>
                </a:cubicBezTo>
                <a:cubicBezTo>
                  <a:pt x="7049" y="915"/>
                  <a:pt x="7049" y="915"/>
                  <a:pt x="7049" y="915"/>
                </a:cubicBezTo>
                <a:cubicBezTo>
                  <a:pt x="7049" y="915"/>
                  <a:pt x="7041" y="922"/>
                  <a:pt x="7041" y="928"/>
                </a:cubicBezTo>
                <a:cubicBezTo>
                  <a:pt x="7041" y="934"/>
                  <a:pt x="7059" y="935"/>
                  <a:pt x="7059" y="935"/>
                </a:cubicBezTo>
                <a:cubicBezTo>
                  <a:pt x="7048" y="940"/>
                  <a:pt x="7048" y="940"/>
                  <a:pt x="7048" y="940"/>
                </a:cubicBezTo>
                <a:cubicBezTo>
                  <a:pt x="7048" y="940"/>
                  <a:pt x="7039" y="947"/>
                  <a:pt x="7048" y="948"/>
                </a:cubicBezTo>
                <a:cubicBezTo>
                  <a:pt x="7057" y="949"/>
                  <a:pt x="7080" y="949"/>
                  <a:pt x="7080" y="949"/>
                </a:cubicBezTo>
                <a:cubicBezTo>
                  <a:pt x="7090" y="955"/>
                  <a:pt x="7090" y="955"/>
                  <a:pt x="7090" y="955"/>
                </a:cubicBezTo>
                <a:cubicBezTo>
                  <a:pt x="7101" y="947"/>
                  <a:pt x="7101" y="947"/>
                  <a:pt x="7101" y="947"/>
                </a:cubicBezTo>
                <a:cubicBezTo>
                  <a:pt x="7109" y="955"/>
                  <a:pt x="7109" y="955"/>
                  <a:pt x="7109" y="955"/>
                </a:cubicBezTo>
                <a:cubicBezTo>
                  <a:pt x="7127" y="946"/>
                  <a:pt x="7127" y="946"/>
                  <a:pt x="7127" y="946"/>
                </a:cubicBezTo>
                <a:cubicBezTo>
                  <a:pt x="7127" y="946"/>
                  <a:pt x="7124" y="959"/>
                  <a:pt x="7118" y="959"/>
                </a:cubicBezTo>
                <a:cubicBezTo>
                  <a:pt x="7112" y="959"/>
                  <a:pt x="7100" y="958"/>
                  <a:pt x="7100" y="958"/>
                </a:cubicBezTo>
                <a:cubicBezTo>
                  <a:pt x="7082" y="959"/>
                  <a:pt x="7082" y="959"/>
                  <a:pt x="7082" y="959"/>
                </a:cubicBezTo>
                <a:cubicBezTo>
                  <a:pt x="7082" y="959"/>
                  <a:pt x="7066" y="957"/>
                  <a:pt x="7063" y="957"/>
                </a:cubicBezTo>
                <a:cubicBezTo>
                  <a:pt x="7060" y="957"/>
                  <a:pt x="7038" y="959"/>
                  <a:pt x="7038" y="959"/>
                </a:cubicBezTo>
                <a:cubicBezTo>
                  <a:pt x="7038" y="959"/>
                  <a:pt x="7040" y="971"/>
                  <a:pt x="7045" y="973"/>
                </a:cubicBezTo>
                <a:cubicBezTo>
                  <a:pt x="7050" y="975"/>
                  <a:pt x="7058" y="975"/>
                  <a:pt x="7058" y="975"/>
                </a:cubicBezTo>
                <a:cubicBezTo>
                  <a:pt x="7058" y="975"/>
                  <a:pt x="7045" y="985"/>
                  <a:pt x="7051" y="992"/>
                </a:cubicBezTo>
                <a:cubicBezTo>
                  <a:pt x="7057" y="999"/>
                  <a:pt x="7067" y="1000"/>
                  <a:pt x="7067" y="1000"/>
                </a:cubicBezTo>
                <a:cubicBezTo>
                  <a:pt x="7085" y="989"/>
                  <a:pt x="7085" y="989"/>
                  <a:pt x="7085" y="989"/>
                </a:cubicBezTo>
                <a:cubicBezTo>
                  <a:pt x="7103" y="985"/>
                  <a:pt x="7103" y="985"/>
                  <a:pt x="7103" y="985"/>
                </a:cubicBezTo>
                <a:cubicBezTo>
                  <a:pt x="7097" y="999"/>
                  <a:pt x="7097" y="999"/>
                  <a:pt x="7097" y="999"/>
                </a:cubicBezTo>
                <a:cubicBezTo>
                  <a:pt x="7087" y="996"/>
                  <a:pt x="7087" y="996"/>
                  <a:pt x="7087" y="996"/>
                </a:cubicBezTo>
                <a:cubicBezTo>
                  <a:pt x="7081" y="1008"/>
                  <a:pt x="7081" y="1008"/>
                  <a:pt x="7081" y="1008"/>
                </a:cubicBezTo>
                <a:cubicBezTo>
                  <a:pt x="7081" y="1008"/>
                  <a:pt x="7051" y="1002"/>
                  <a:pt x="7055" y="1009"/>
                </a:cubicBezTo>
                <a:cubicBezTo>
                  <a:pt x="7059" y="1016"/>
                  <a:pt x="7068" y="1019"/>
                  <a:pt x="7068" y="1019"/>
                </a:cubicBezTo>
                <a:cubicBezTo>
                  <a:pt x="7052" y="1027"/>
                  <a:pt x="7052" y="1027"/>
                  <a:pt x="7052" y="1027"/>
                </a:cubicBezTo>
                <a:cubicBezTo>
                  <a:pt x="7040" y="1027"/>
                  <a:pt x="7040" y="1027"/>
                  <a:pt x="7040" y="1027"/>
                </a:cubicBezTo>
                <a:cubicBezTo>
                  <a:pt x="7040" y="1027"/>
                  <a:pt x="7042" y="1039"/>
                  <a:pt x="7045" y="1039"/>
                </a:cubicBezTo>
                <a:cubicBezTo>
                  <a:pt x="7048" y="1039"/>
                  <a:pt x="7080" y="1040"/>
                  <a:pt x="7080" y="1040"/>
                </a:cubicBezTo>
                <a:cubicBezTo>
                  <a:pt x="7071" y="1054"/>
                  <a:pt x="7071" y="1054"/>
                  <a:pt x="7071" y="1054"/>
                </a:cubicBezTo>
                <a:cubicBezTo>
                  <a:pt x="7079" y="1056"/>
                  <a:pt x="7079" y="1056"/>
                  <a:pt x="7079" y="1056"/>
                </a:cubicBezTo>
                <a:cubicBezTo>
                  <a:pt x="7074" y="1068"/>
                  <a:pt x="7074" y="1068"/>
                  <a:pt x="7074" y="1068"/>
                </a:cubicBezTo>
                <a:cubicBezTo>
                  <a:pt x="7074" y="1068"/>
                  <a:pt x="7048" y="1055"/>
                  <a:pt x="7049" y="1063"/>
                </a:cubicBezTo>
                <a:cubicBezTo>
                  <a:pt x="7050" y="1071"/>
                  <a:pt x="7061" y="1082"/>
                  <a:pt x="7061" y="1082"/>
                </a:cubicBezTo>
                <a:cubicBezTo>
                  <a:pt x="7093" y="1096"/>
                  <a:pt x="7093" y="1096"/>
                  <a:pt x="7093" y="1096"/>
                </a:cubicBezTo>
                <a:cubicBezTo>
                  <a:pt x="7093" y="1096"/>
                  <a:pt x="7086" y="1101"/>
                  <a:pt x="7093" y="1104"/>
                </a:cubicBezTo>
                <a:cubicBezTo>
                  <a:pt x="7100" y="1107"/>
                  <a:pt x="7121" y="1102"/>
                  <a:pt x="7121" y="1102"/>
                </a:cubicBezTo>
                <a:cubicBezTo>
                  <a:pt x="7121" y="1102"/>
                  <a:pt x="7124" y="1111"/>
                  <a:pt x="7141" y="1105"/>
                </a:cubicBezTo>
                <a:cubicBezTo>
                  <a:pt x="7158" y="1099"/>
                  <a:pt x="7186" y="1074"/>
                  <a:pt x="7186" y="1074"/>
                </a:cubicBezTo>
                <a:cubicBezTo>
                  <a:pt x="7210" y="1055"/>
                  <a:pt x="7210" y="1055"/>
                  <a:pt x="7210" y="1055"/>
                </a:cubicBezTo>
                <a:cubicBezTo>
                  <a:pt x="7210" y="1055"/>
                  <a:pt x="7221" y="1060"/>
                  <a:pt x="7231" y="1051"/>
                </a:cubicBezTo>
                <a:cubicBezTo>
                  <a:pt x="7241" y="1042"/>
                  <a:pt x="7231" y="1023"/>
                  <a:pt x="7231" y="1023"/>
                </a:cubicBezTo>
                <a:cubicBezTo>
                  <a:pt x="7243" y="1021"/>
                  <a:pt x="7243" y="1021"/>
                  <a:pt x="7243" y="1021"/>
                </a:cubicBezTo>
                <a:cubicBezTo>
                  <a:pt x="7243" y="1021"/>
                  <a:pt x="7230" y="1038"/>
                  <a:pt x="7245" y="1043"/>
                </a:cubicBezTo>
                <a:cubicBezTo>
                  <a:pt x="7260" y="1048"/>
                  <a:pt x="7271" y="1050"/>
                  <a:pt x="7271" y="1050"/>
                </a:cubicBezTo>
                <a:cubicBezTo>
                  <a:pt x="7273" y="1091"/>
                  <a:pt x="7273" y="1091"/>
                  <a:pt x="7273" y="1091"/>
                </a:cubicBezTo>
                <a:cubicBezTo>
                  <a:pt x="7273" y="1091"/>
                  <a:pt x="7287" y="1080"/>
                  <a:pt x="7294" y="1092"/>
                </a:cubicBezTo>
                <a:cubicBezTo>
                  <a:pt x="7301" y="1104"/>
                  <a:pt x="7290" y="1096"/>
                  <a:pt x="7290" y="1096"/>
                </a:cubicBezTo>
                <a:cubicBezTo>
                  <a:pt x="7290" y="1096"/>
                  <a:pt x="7285" y="1130"/>
                  <a:pt x="7289" y="1134"/>
                </a:cubicBezTo>
                <a:cubicBezTo>
                  <a:pt x="7293" y="1138"/>
                  <a:pt x="7305" y="1143"/>
                  <a:pt x="7305" y="1143"/>
                </a:cubicBezTo>
                <a:cubicBezTo>
                  <a:pt x="7305" y="1143"/>
                  <a:pt x="7314" y="1160"/>
                  <a:pt x="7320" y="1167"/>
                </a:cubicBezTo>
                <a:cubicBezTo>
                  <a:pt x="7326" y="1174"/>
                  <a:pt x="7337" y="1178"/>
                  <a:pt x="7337" y="1178"/>
                </a:cubicBezTo>
                <a:cubicBezTo>
                  <a:pt x="7336" y="1186"/>
                  <a:pt x="7336" y="1186"/>
                  <a:pt x="7336" y="1186"/>
                </a:cubicBezTo>
                <a:cubicBezTo>
                  <a:pt x="7324" y="1188"/>
                  <a:pt x="7324" y="1188"/>
                  <a:pt x="7324" y="1188"/>
                </a:cubicBezTo>
                <a:cubicBezTo>
                  <a:pt x="7324" y="1188"/>
                  <a:pt x="7322" y="1196"/>
                  <a:pt x="7323" y="1202"/>
                </a:cubicBezTo>
                <a:cubicBezTo>
                  <a:pt x="7324" y="1208"/>
                  <a:pt x="7339" y="1221"/>
                  <a:pt x="7339" y="1221"/>
                </a:cubicBezTo>
                <a:cubicBezTo>
                  <a:pt x="7339" y="1221"/>
                  <a:pt x="7335" y="1234"/>
                  <a:pt x="7340" y="1237"/>
                </a:cubicBezTo>
                <a:cubicBezTo>
                  <a:pt x="7345" y="1240"/>
                  <a:pt x="7365" y="1238"/>
                  <a:pt x="7365" y="1238"/>
                </a:cubicBezTo>
                <a:cubicBezTo>
                  <a:pt x="7365" y="1238"/>
                  <a:pt x="7393" y="1245"/>
                  <a:pt x="7392" y="1236"/>
                </a:cubicBezTo>
                <a:cubicBezTo>
                  <a:pt x="7391" y="1227"/>
                  <a:pt x="7391" y="1212"/>
                  <a:pt x="7391" y="1212"/>
                </a:cubicBezTo>
                <a:cubicBezTo>
                  <a:pt x="7403" y="1206"/>
                  <a:pt x="7403" y="1206"/>
                  <a:pt x="7403" y="1206"/>
                </a:cubicBezTo>
                <a:cubicBezTo>
                  <a:pt x="7404" y="1196"/>
                  <a:pt x="7404" y="1196"/>
                  <a:pt x="7404" y="1196"/>
                </a:cubicBezTo>
                <a:cubicBezTo>
                  <a:pt x="7447" y="1199"/>
                  <a:pt x="7447" y="1199"/>
                  <a:pt x="7447" y="1199"/>
                </a:cubicBezTo>
                <a:cubicBezTo>
                  <a:pt x="7456" y="1204"/>
                  <a:pt x="7456" y="1204"/>
                  <a:pt x="7456" y="1204"/>
                </a:cubicBezTo>
                <a:cubicBezTo>
                  <a:pt x="7470" y="1162"/>
                  <a:pt x="7470" y="1162"/>
                  <a:pt x="7470" y="1162"/>
                </a:cubicBezTo>
                <a:cubicBezTo>
                  <a:pt x="7470" y="1162"/>
                  <a:pt x="7479" y="1136"/>
                  <a:pt x="7477" y="1130"/>
                </a:cubicBezTo>
                <a:cubicBezTo>
                  <a:pt x="7475" y="1124"/>
                  <a:pt x="7469" y="1113"/>
                  <a:pt x="7469" y="1113"/>
                </a:cubicBezTo>
                <a:cubicBezTo>
                  <a:pt x="7469" y="1113"/>
                  <a:pt x="7490" y="1110"/>
                  <a:pt x="7488" y="1099"/>
                </a:cubicBezTo>
                <a:cubicBezTo>
                  <a:pt x="7486" y="1088"/>
                  <a:pt x="7467" y="1088"/>
                  <a:pt x="7467" y="1088"/>
                </a:cubicBezTo>
                <a:cubicBezTo>
                  <a:pt x="7480" y="1083"/>
                  <a:pt x="7480" y="1083"/>
                  <a:pt x="7480" y="1083"/>
                </a:cubicBezTo>
                <a:cubicBezTo>
                  <a:pt x="7471" y="1079"/>
                  <a:pt x="7471" y="1079"/>
                  <a:pt x="7471" y="1079"/>
                </a:cubicBezTo>
                <a:cubicBezTo>
                  <a:pt x="7471" y="1079"/>
                  <a:pt x="7505" y="1081"/>
                  <a:pt x="7508" y="1070"/>
                </a:cubicBezTo>
                <a:cubicBezTo>
                  <a:pt x="7511" y="1059"/>
                  <a:pt x="7516" y="1053"/>
                  <a:pt x="7516" y="1053"/>
                </a:cubicBezTo>
                <a:cubicBezTo>
                  <a:pt x="7516" y="1053"/>
                  <a:pt x="7527" y="1071"/>
                  <a:pt x="7537" y="1059"/>
                </a:cubicBezTo>
                <a:cubicBezTo>
                  <a:pt x="7547" y="1047"/>
                  <a:pt x="7541" y="1037"/>
                  <a:pt x="7541" y="1037"/>
                </a:cubicBezTo>
                <a:cubicBezTo>
                  <a:pt x="7541" y="1037"/>
                  <a:pt x="7568" y="1032"/>
                  <a:pt x="7561" y="1018"/>
                </a:cubicBezTo>
                <a:cubicBezTo>
                  <a:pt x="7554" y="1004"/>
                  <a:pt x="7542" y="1001"/>
                  <a:pt x="7542" y="1001"/>
                </a:cubicBezTo>
                <a:cubicBezTo>
                  <a:pt x="7542" y="990"/>
                  <a:pt x="7542" y="990"/>
                  <a:pt x="7542" y="990"/>
                </a:cubicBezTo>
                <a:cubicBezTo>
                  <a:pt x="7518" y="980"/>
                  <a:pt x="7518" y="980"/>
                  <a:pt x="7518" y="980"/>
                </a:cubicBezTo>
                <a:cubicBezTo>
                  <a:pt x="7518" y="980"/>
                  <a:pt x="7507" y="987"/>
                  <a:pt x="7499" y="980"/>
                </a:cubicBezTo>
                <a:cubicBezTo>
                  <a:pt x="7491" y="973"/>
                  <a:pt x="7488" y="931"/>
                  <a:pt x="7488" y="931"/>
                </a:cubicBezTo>
                <a:cubicBezTo>
                  <a:pt x="7488" y="931"/>
                  <a:pt x="7499" y="921"/>
                  <a:pt x="7500" y="910"/>
                </a:cubicBezTo>
                <a:cubicBezTo>
                  <a:pt x="7501" y="899"/>
                  <a:pt x="7490" y="889"/>
                  <a:pt x="7490" y="889"/>
                </a:cubicBezTo>
                <a:cubicBezTo>
                  <a:pt x="7490" y="889"/>
                  <a:pt x="7504" y="892"/>
                  <a:pt x="7508" y="884"/>
                </a:cubicBezTo>
                <a:cubicBezTo>
                  <a:pt x="7512" y="876"/>
                  <a:pt x="7503" y="864"/>
                  <a:pt x="7503" y="864"/>
                </a:cubicBezTo>
                <a:cubicBezTo>
                  <a:pt x="7503" y="864"/>
                  <a:pt x="7520" y="873"/>
                  <a:pt x="7525" y="868"/>
                </a:cubicBezTo>
                <a:cubicBezTo>
                  <a:pt x="7530" y="863"/>
                  <a:pt x="7542" y="851"/>
                  <a:pt x="7542" y="851"/>
                </a:cubicBezTo>
                <a:cubicBezTo>
                  <a:pt x="7562" y="854"/>
                  <a:pt x="7562" y="854"/>
                  <a:pt x="7562" y="854"/>
                </a:cubicBezTo>
                <a:cubicBezTo>
                  <a:pt x="7570" y="839"/>
                  <a:pt x="7570" y="839"/>
                  <a:pt x="7570" y="839"/>
                </a:cubicBezTo>
                <a:cubicBezTo>
                  <a:pt x="7570" y="839"/>
                  <a:pt x="7601" y="840"/>
                  <a:pt x="7611" y="830"/>
                </a:cubicBezTo>
                <a:cubicBezTo>
                  <a:pt x="7621" y="820"/>
                  <a:pt x="7635" y="794"/>
                  <a:pt x="7635" y="794"/>
                </a:cubicBezTo>
                <a:cubicBezTo>
                  <a:pt x="7623" y="779"/>
                  <a:pt x="7623" y="779"/>
                  <a:pt x="7623" y="779"/>
                </a:cubicBezTo>
                <a:cubicBezTo>
                  <a:pt x="7643" y="756"/>
                  <a:pt x="7643" y="756"/>
                  <a:pt x="7643" y="756"/>
                </a:cubicBezTo>
                <a:cubicBezTo>
                  <a:pt x="7632" y="743"/>
                  <a:pt x="7632" y="743"/>
                  <a:pt x="7632" y="743"/>
                </a:cubicBezTo>
                <a:cubicBezTo>
                  <a:pt x="7657" y="737"/>
                  <a:pt x="7657" y="737"/>
                  <a:pt x="7657" y="737"/>
                </a:cubicBezTo>
                <a:cubicBezTo>
                  <a:pt x="7667" y="725"/>
                  <a:pt x="7667" y="725"/>
                  <a:pt x="7667" y="725"/>
                </a:cubicBezTo>
                <a:cubicBezTo>
                  <a:pt x="7720" y="727"/>
                  <a:pt x="7720" y="727"/>
                  <a:pt x="7720" y="727"/>
                </a:cubicBezTo>
                <a:cubicBezTo>
                  <a:pt x="7728" y="740"/>
                  <a:pt x="7728" y="740"/>
                  <a:pt x="7728" y="740"/>
                </a:cubicBezTo>
                <a:cubicBezTo>
                  <a:pt x="7730" y="738"/>
                  <a:pt x="7730" y="738"/>
                  <a:pt x="7730" y="738"/>
                </a:cubicBezTo>
                <a:cubicBezTo>
                  <a:pt x="7740" y="732"/>
                  <a:pt x="7740" y="732"/>
                  <a:pt x="7740" y="732"/>
                </a:cubicBezTo>
                <a:cubicBezTo>
                  <a:pt x="7740" y="732"/>
                  <a:pt x="7769" y="739"/>
                  <a:pt x="7771" y="751"/>
                </a:cubicBezTo>
                <a:cubicBezTo>
                  <a:pt x="7773" y="763"/>
                  <a:pt x="7774" y="773"/>
                  <a:pt x="7774" y="773"/>
                </a:cubicBezTo>
                <a:cubicBezTo>
                  <a:pt x="7774" y="773"/>
                  <a:pt x="7762" y="767"/>
                  <a:pt x="7759" y="768"/>
                </a:cubicBezTo>
                <a:cubicBezTo>
                  <a:pt x="7756" y="769"/>
                  <a:pt x="7734" y="794"/>
                  <a:pt x="7734" y="794"/>
                </a:cubicBezTo>
                <a:cubicBezTo>
                  <a:pt x="7711" y="817"/>
                  <a:pt x="7711" y="817"/>
                  <a:pt x="7711" y="817"/>
                </a:cubicBezTo>
                <a:cubicBezTo>
                  <a:pt x="7688" y="822"/>
                  <a:pt x="7688" y="822"/>
                  <a:pt x="7688" y="822"/>
                </a:cubicBezTo>
                <a:cubicBezTo>
                  <a:pt x="7688" y="822"/>
                  <a:pt x="7673" y="834"/>
                  <a:pt x="7673" y="843"/>
                </a:cubicBezTo>
                <a:cubicBezTo>
                  <a:pt x="7673" y="852"/>
                  <a:pt x="7653" y="852"/>
                  <a:pt x="7653" y="852"/>
                </a:cubicBezTo>
                <a:cubicBezTo>
                  <a:pt x="7637" y="870"/>
                  <a:pt x="7637" y="870"/>
                  <a:pt x="7637" y="870"/>
                </a:cubicBezTo>
                <a:cubicBezTo>
                  <a:pt x="7637" y="870"/>
                  <a:pt x="7633" y="882"/>
                  <a:pt x="7635" y="886"/>
                </a:cubicBezTo>
                <a:cubicBezTo>
                  <a:pt x="7637" y="890"/>
                  <a:pt x="7641" y="898"/>
                  <a:pt x="7641" y="898"/>
                </a:cubicBezTo>
                <a:cubicBezTo>
                  <a:pt x="7639" y="914"/>
                  <a:pt x="7639" y="914"/>
                  <a:pt x="7639" y="914"/>
                </a:cubicBezTo>
                <a:cubicBezTo>
                  <a:pt x="7654" y="927"/>
                  <a:pt x="7654" y="927"/>
                  <a:pt x="7654" y="927"/>
                </a:cubicBezTo>
                <a:cubicBezTo>
                  <a:pt x="7654" y="927"/>
                  <a:pt x="7644" y="959"/>
                  <a:pt x="7648" y="968"/>
                </a:cubicBezTo>
                <a:cubicBezTo>
                  <a:pt x="7652" y="977"/>
                  <a:pt x="7663" y="986"/>
                  <a:pt x="7663" y="986"/>
                </a:cubicBezTo>
                <a:cubicBezTo>
                  <a:pt x="7678" y="997"/>
                  <a:pt x="7678" y="997"/>
                  <a:pt x="7678" y="997"/>
                </a:cubicBezTo>
                <a:cubicBezTo>
                  <a:pt x="7706" y="994"/>
                  <a:pt x="7706" y="994"/>
                  <a:pt x="7706" y="994"/>
                </a:cubicBezTo>
                <a:cubicBezTo>
                  <a:pt x="7706" y="994"/>
                  <a:pt x="7697" y="1010"/>
                  <a:pt x="7717" y="1012"/>
                </a:cubicBezTo>
                <a:cubicBezTo>
                  <a:pt x="7737" y="1014"/>
                  <a:pt x="7772" y="1009"/>
                  <a:pt x="7772" y="1009"/>
                </a:cubicBezTo>
                <a:cubicBezTo>
                  <a:pt x="7791" y="999"/>
                  <a:pt x="7791" y="999"/>
                  <a:pt x="7791" y="999"/>
                </a:cubicBezTo>
                <a:cubicBezTo>
                  <a:pt x="7814" y="999"/>
                  <a:pt x="7814" y="999"/>
                  <a:pt x="7814" y="999"/>
                </a:cubicBezTo>
                <a:cubicBezTo>
                  <a:pt x="7847" y="982"/>
                  <a:pt x="7847" y="982"/>
                  <a:pt x="7847" y="982"/>
                </a:cubicBezTo>
                <a:cubicBezTo>
                  <a:pt x="7896" y="985"/>
                  <a:pt x="7896" y="985"/>
                  <a:pt x="7896" y="985"/>
                </a:cubicBezTo>
                <a:cubicBezTo>
                  <a:pt x="7901" y="982"/>
                  <a:pt x="7901" y="982"/>
                  <a:pt x="7901" y="982"/>
                </a:cubicBezTo>
                <a:cubicBezTo>
                  <a:pt x="7921" y="971"/>
                  <a:pt x="7921" y="971"/>
                  <a:pt x="7921" y="971"/>
                </a:cubicBezTo>
                <a:cubicBezTo>
                  <a:pt x="7923" y="982"/>
                  <a:pt x="7923" y="982"/>
                  <a:pt x="7923" y="982"/>
                </a:cubicBezTo>
                <a:cubicBezTo>
                  <a:pt x="7923" y="982"/>
                  <a:pt x="7936" y="995"/>
                  <a:pt x="7942" y="998"/>
                </a:cubicBezTo>
                <a:cubicBezTo>
                  <a:pt x="7948" y="1001"/>
                  <a:pt x="7975" y="1001"/>
                  <a:pt x="7975" y="1001"/>
                </a:cubicBezTo>
                <a:cubicBezTo>
                  <a:pt x="7984" y="1013"/>
                  <a:pt x="7984" y="1013"/>
                  <a:pt x="7984" y="1013"/>
                </a:cubicBezTo>
                <a:cubicBezTo>
                  <a:pt x="7984" y="1013"/>
                  <a:pt x="7945" y="1004"/>
                  <a:pt x="7943" y="1010"/>
                </a:cubicBezTo>
                <a:cubicBezTo>
                  <a:pt x="7941" y="1016"/>
                  <a:pt x="7941" y="1020"/>
                  <a:pt x="7941" y="1020"/>
                </a:cubicBezTo>
                <a:cubicBezTo>
                  <a:pt x="7915" y="1021"/>
                  <a:pt x="7915" y="1021"/>
                  <a:pt x="7915" y="1021"/>
                </a:cubicBezTo>
                <a:cubicBezTo>
                  <a:pt x="7911" y="1039"/>
                  <a:pt x="7911" y="1039"/>
                  <a:pt x="7911" y="1039"/>
                </a:cubicBezTo>
                <a:cubicBezTo>
                  <a:pt x="7911" y="1039"/>
                  <a:pt x="7908" y="1038"/>
                  <a:pt x="7903" y="1037"/>
                </a:cubicBezTo>
                <a:cubicBezTo>
                  <a:pt x="7887" y="1034"/>
                  <a:pt x="7852" y="1028"/>
                  <a:pt x="7842" y="1027"/>
                </a:cubicBezTo>
                <a:cubicBezTo>
                  <a:pt x="7829" y="1026"/>
                  <a:pt x="7782" y="1032"/>
                  <a:pt x="7782" y="1032"/>
                </a:cubicBezTo>
                <a:cubicBezTo>
                  <a:pt x="7782" y="1032"/>
                  <a:pt x="7732" y="1050"/>
                  <a:pt x="7732" y="1057"/>
                </a:cubicBezTo>
                <a:cubicBezTo>
                  <a:pt x="7732" y="1064"/>
                  <a:pt x="7738" y="1082"/>
                  <a:pt x="7738" y="1082"/>
                </a:cubicBezTo>
                <a:cubicBezTo>
                  <a:pt x="7777" y="1087"/>
                  <a:pt x="7777" y="1087"/>
                  <a:pt x="7777" y="1087"/>
                </a:cubicBezTo>
                <a:cubicBezTo>
                  <a:pt x="7769" y="1113"/>
                  <a:pt x="7769" y="1113"/>
                  <a:pt x="7769" y="1113"/>
                </a:cubicBezTo>
                <a:cubicBezTo>
                  <a:pt x="7769" y="1113"/>
                  <a:pt x="7786" y="1156"/>
                  <a:pt x="7773" y="1156"/>
                </a:cubicBezTo>
                <a:cubicBezTo>
                  <a:pt x="7760" y="1156"/>
                  <a:pt x="7736" y="1153"/>
                  <a:pt x="7736" y="1153"/>
                </a:cubicBezTo>
                <a:cubicBezTo>
                  <a:pt x="7729" y="1138"/>
                  <a:pt x="7729" y="1138"/>
                  <a:pt x="7729" y="1138"/>
                </a:cubicBezTo>
                <a:cubicBezTo>
                  <a:pt x="7706" y="1119"/>
                  <a:pt x="7706" y="1119"/>
                  <a:pt x="7706" y="1119"/>
                </a:cubicBezTo>
                <a:cubicBezTo>
                  <a:pt x="7706" y="1119"/>
                  <a:pt x="7674" y="1124"/>
                  <a:pt x="7671" y="1131"/>
                </a:cubicBezTo>
                <a:cubicBezTo>
                  <a:pt x="7668" y="1138"/>
                  <a:pt x="7666" y="1147"/>
                  <a:pt x="7666" y="1147"/>
                </a:cubicBezTo>
                <a:cubicBezTo>
                  <a:pt x="7666" y="1147"/>
                  <a:pt x="7650" y="1165"/>
                  <a:pt x="7650" y="1170"/>
                </a:cubicBezTo>
                <a:cubicBezTo>
                  <a:pt x="7650" y="1175"/>
                  <a:pt x="7656" y="1205"/>
                  <a:pt x="7656" y="1205"/>
                </a:cubicBezTo>
                <a:cubicBezTo>
                  <a:pt x="7656" y="1205"/>
                  <a:pt x="7657" y="1240"/>
                  <a:pt x="7666" y="1242"/>
                </a:cubicBezTo>
                <a:cubicBezTo>
                  <a:pt x="7668" y="1242"/>
                  <a:pt x="7669" y="1244"/>
                  <a:pt x="7669" y="1246"/>
                </a:cubicBezTo>
                <a:cubicBezTo>
                  <a:pt x="7669" y="1251"/>
                  <a:pt x="7661" y="1260"/>
                  <a:pt x="7661" y="1260"/>
                </a:cubicBezTo>
                <a:cubicBezTo>
                  <a:pt x="7661" y="1260"/>
                  <a:pt x="7620" y="1255"/>
                  <a:pt x="7614" y="1262"/>
                </a:cubicBezTo>
                <a:cubicBezTo>
                  <a:pt x="7608" y="1269"/>
                  <a:pt x="7621" y="1278"/>
                  <a:pt x="7621" y="1278"/>
                </a:cubicBezTo>
                <a:cubicBezTo>
                  <a:pt x="7616" y="1287"/>
                  <a:pt x="7616" y="1287"/>
                  <a:pt x="7616" y="1287"/>
                </a:cubicBezTo>
                <a:cubicBezTo>
                  <a:pt x="7616" y="1287"/>
                  <a:pt x="7580" y="1291"/>
                  <a:pt x="7574" y="1290"/>
                </a:cubicBezTo>
                <a:cubicBezTo>
                  <a:pt x="7568" y="1289"/>
                  <a:pt x="7563" y="1272"/>
                  <a:pt x="7563" y="1272"/>
                </a:cubicBezTo>
                <a:cubicBezTo>
                  <a:pt x="7563" y="1272"/>
                  <a:pt x="7549" y="1268"/>
                  <a:pt x="7534" y="1268"/>
                </a:cubicBezTo>
                <a:cubicBezTo>
                  <a:pt x="7519" y="1268"/>
                  <a:pt x="7479" y="1285"/>
                  <a:pt x="7479" y="1285"/>
                </a:cubicBezTo>
                <a:cubicBezTo>
                  <a:pt x="7466" y="1296"/>
                  <a:pt x="7466" y="1296"/>
                  <a:pt x="7466" y="1296"/>
                </a:cubicBezTo>
                <a:cubicBezTo>
                  <a:pt x="7426" y="1301"/>
                  <a:pt x="7426" y="1301"/>
                  <a:pt x="7426" y="1301"/>
                </a:cubicBezTo>
                <a:cubicBezTo>
                  <a:pt x="7426" y="1301"/>
                  <a:pt x="7395" y="1312"/>
                  <a:pt x="7397" y="1316"/>
                </a:cubicBezTo>
                <a:cubicBezTo>
                  <a:pt x="7399" y="1320"/>
                  <a:pt x="7399" y="1330"/>
                  <a:pt x="7399" y="1330"/>
                </a:cubicBezTo>
                <a:cubicBezTo>
                  <a:pt x="7392" y="1326"/>
                  <a:pt x="7392" y="1326"/>
                  <a:pt x="7392" y="1326"/>
                </a:cubicBezTo>
                <a:cubicBezTo>
                  <a:pt x="7388" y="1324"/>
                  <a:pt x="7388" y="1324"/>
                  <a:pt x="7388" y="1324"/>
                </a:cubicBezTo>
                <a:cubicBezTo>
                  <a:pt x="7375" y="1319"/>
                  <a:pt x="7375" y="1319"/>
                  <a:pt x="7375" y="1319"/>
                </a:cubicBezTo>
                <a:cubicBezTo>
                  <a:pt x="7375" y="1319"/>
                  <a:pt x="7377" y="1314"/>
                  <a:pt x="7372" y="1308"/>
                </a:cubicBezTo>
                <a:cubicBezTo>
                  <a:pt x="7367" y="1302"/>
                  <a:pt x="7355" y="1305"/>
                  <a:pt x="7355" y="1305"/>
                </a:cubicBezTo>
                <a:cubicBezTo>
                  <a:pt x="7350" y="1299"/>
                  <a:pt x="7350" y="1299"/>
                  <a:pt x="7350" y="1299"/>
                </a:cubicBezTo>
                <a:cubicBezTo>
                  <a:pt x="7350" y="1299"/>
                  <a:pt x="7324" y="1287"/>
                  <a:pt x="7319" y="1290"/>
                </a:cubicBezTo>
                <a:cubicBezTo>
                  <a:pt x="7314" y="1293"/>
                  <a:pt x="7307" y="1300"/>
                  <a:pt x="7307" y="1300"/>
                </a:cubicBezTo>
                <a:cubicBezTo>
                  <a:pt x="7280" y="1299"/>
                  <a:pt x="7280" y="1299"/>
                  <a:pt x="7280" y="1299"/>
                </a:cubicBezTo>
                <a:cubicBezTo>
                  <a:pt x="7280" y="1311"/>
                  <a:pt x="7280" y="1311"/>
                  <a:pt x="7280" y="1311"/>
                </a:cubicBezTo>
                <a:cubicBezTo>
                  <a:pt x="7254" y="1310"/>
                  <a:pt x="7254" y="1310"/>
                  <a:pt x="7254" y="1310"/>
                </a:cubicBezTo>
                <a:cubicBezTo>
                  <a:pt x="7254" y="1310"/>
                  <a:pt x="7252" y="1302"/>
                  <a:pt x="7256" y="1299"/>
                </a:cubicBezTo>
                <a:cubicBezTo>
                  <a:pt x="7260" y="1296"/>
                  <a:pt x="7263" y="1284"/>
                  <a:pt x="7263" y="1284"/>
                </a:cubicBezTo>
                <a:cubicBezTo>
                  <a:pt x="7250" y="1291"/>
                  <a:pt x="7250" y="1291"/>
                  <a:pt x="7250" y="1291"/>
                </a:cubicBezTo>
                <a:cubicBezTo>
                  <a:pt x="7222" y="1286"/>
                  <a:pt x="7222" y="1286"/>
                  <a:pt x="7222" y="1286"/>
                </a:cubicBezTo>
                <a:cubicBezTo>
                  <a:pt x="7222" y="1286"/>
                  <a:pt x="7214" y="1278"/>
                  <a:pt x="7210" y="1268"/>
                </a:cubicBezTo>
                <a:cubicBezTo>
                  <a:pt x="7210" y="1268"/>
                  <a:pt x="7210" y="1268"/>
                  <a:pt x="7210" y="1268"/>
                </a:cubicBezTo>
                <a:cubicBezTo>
                  <a:pt x="7206" y="1258"/>
                  <a:pt x="7203" y="1252"/>
                  <a:pt x="7203" y="1252"/>
                </a:cubicBezTo>
                <a:cubicBezTo>
                  <a:pt x="7214" y="1239"/>
                  <a:pt x="7214" y="1239"/>
                  <a:pt x="7214" y="1239"/>
                </a:cubicBezTo>
                <a:cubicBezTo>
                  <a:pt x="7214" y="1239"/>
                  <a:pt x="7196" y="1224"/>
                  <a:pt x="7206" y="1222"/>
                </a:cubicBezTo>
                <a:cubicBezTo>
                  <a:pt x="7216" y="1220"/>
                  <a:pt x="7224" y="1213"/>
                  <a:pt x="7224" y="1213"/>
                </a:cubicBezTo>
                <a:cubicBezTo>
                  <a:pt x="7228" y="1194"/>
                  <a:pt x="7228" y="1194"/>
                  <a:pt x="7228" y="1194"/>
                </a:cubicBezTo>
                <a:cubicBezTo>
                  <a:pt x="7242" y="1194"/>
                  <a:pt x="7242" y="1194"/>
                  <a:pt x="7242" y="1194"/>
                </a:cubicBezTo>
                <a:cubicBezTo>
                  <a:pt x="7247" y="1179"/>
                  <a:pt x="7247" y="1179"/>
                  <a:pt x="7247" y="1179"/>
                </a:cubicBezTo>
                <a:cubicBezTo>
                  <a:pt x="7224" y="1179"/>
                  <a:pt x="7224" y="1179"/>
                  <a:pt x="7224" y="1179"/>
                </a:cubicBezTo>
                <a:cubicBezTo>
                  <a:pt x="7224" y="1179"/>
                  <a:pt x="7220" y="1163"/>
                  <a:pt x="7224" y="1160"/>
                </a:cubicBezTo>
                <a:cubicBezTo>
                  <a:pt x="7228" y="1157"/>
                  <a:pt x="7241" y="1143"/>
                  <a:pt x="7238" y="1138"/>
                </a:cubicBezTo>
                <a:cubicBezTo>
                  <a:pt x="7235" y="1133"/>
                  <a:pt x="7231" y="1126"/>
                  <a:pt x="7231" y="1126"/>
                </a:cubicBezTo>
                <a:cubicBezTo>
                  <a:pt x="7231" y="1126"/>
                  <a:pt x="7213" y="1124"/>
                  <a:pt x="7212" y="1127"/>
                </a:cubicBezTo>
                <a:cubicBezTo>
                  <a:pt x="7211" y="1130"/>
                  <a:pt x="7191" y="1155"/>
                  <a:pt x="7191" y="1160"/>
                </a:cubicBezTo>
                <a:cubicBezTo>
                  <a:pt x="7191" y="1165"/>
                  <a:pt x="7194" y="1177"/>
                  <a:pt x="7194" y="1177"/>
                </a:cubicBezTo>
                <a:cubicBezTo>
                  <a:pt x="7181" y="1166"/>
                  <a:pt x="7181" y="1166"/>
                  <a:pt x="7181" y="1166"/>
                </a:cubicBezTo>
                <a:cubicBezTo>
                  <a:pt x="7175" y="1145"/>
                  <a:pt x="7175" y="1145"/>
                  <a:pt x="7175" y="1145"/>
                </a:cubicBezTo>
                <a:cubicBezTo>
                  <a:pt x="7175" y="1145"/>
                  <a:pt x="7150" y="1161"/>
                  <a:pt x="7151" y="1164"/>
                </a:cubicBezTo>
                <a:cubicBezTo>
                  <a:pt x="7152" y="1167"/>
                  <a:pt x="7165" y="1165"/>
                  <a:pt x="7166" y="1168"/>
                </a:cubicBezTo>
                <a:cubicBezTo>
                  <a:pt x="7167" y="1171"/>
                  <a:pt x="7176" y="1185"/>
                  <a:pt x="7176" y="1185"/>
                </a:cubicBezTo>
                <a:cubicBezTo>
                  <a:pt x="7153" y="1181"/>
                  <a:pt x="7153" y="1181"/>
                  <a:pt x="7153" y="1181"/>
                </a:cubicBezTo>
                <a:cubicBezTo>
                  <a:pt x="7153" y="1181"/>
                  <a:pt x="7141" y="1196"/>
                  <a:pt x="7142" y="1204"/>
                </a:cubicBezTo>
                <a:cubicBezTo>
                  <a:pt x="7143" y="1212"/>
                  <a:pt x="7159" y="1214"/>
                  <a:pt x="7159" y="1214"/>
                </a:cubicBezTo>
                <a:cubicBezTo>
                  <a:pt x="7159" y="1214"/>
                  <a:pt x="7145" y="1230"/>
                  <a:pt x="7148" y="1232"/>
                </a:cubicBezTo>
                <a:cubicBezTo>
                  <a:pt x="7151" y="1234"/>
                  <a:pt x="7165" y="1234"/>
                  <a:pt x="7165" y="1234"/>
                </a:cubicBezTo>
                <a:cubicBezTo>
                  <a:pt x="7164" y="1249"/>
                  <a:pt x="7164" y="1249"/>
                  <a:pt x="7164" y="1249"/>
                </a:cubicBezTo>
                <a:cubicBezTo>
                  <a:pt x="7156" y="1259"/>
                  <a:pt x="7156" y="1259"/>
                  <a:pt x="7156" y="1259"/>
                </a:cubicBezTo>
                <a:cubicBezTo>
                  <a:pt x="7166" y="1264"/>
                  <a:pt x="7166" y="1264"/>
                  <a:pt x="7166" y="1264"/>
                </a:cubicBezTo>
                <a:cubicBezTo>
                  <a:pt x="7180" y="1287"/>
                  <a:pt x="7180" y="1287"/>
                  <a:pt x="7180" y="1287"/>
                </a:cubicBezTo>
                <a:cubicBezTo>
                  <a:pt x="7171" y="1295"/>
                  <a:pt x="7171" y="1295"/>
                  <a:pt x="7171" y="1295"/>
                </a:cubicBezTo>
                <a:cubicBezTo>
                  <a:pt x="7184" y="1313"/>
                  <a:pt x="7184" y="1313"/>
                  <a:pt x="7184" y="1313"/>
                </a:cubicBezTo>
                <a:cubicBezTo>
                  <a:pt x="7196" y="1322"/>
                  <a:pt x="7196" y="1322"/>
                  <a:pt x="7196" y="1322"/>
                </a:cubicBezTo>
                <a:cubicBezTo>
                  <a:pt x="7177" y="1315"/>
                  <a:pt x="7177" y="1315"/>
                  <a:pt x="7177" y="1315"/>
                </a:cubicBezTo>
                <a:cubicBezTo>
                  <a:pt x="7159" y="1319"/>
                  <a:pt x="7159" y="1319"/>
                  <a:pt x="7159" y="1319"/>
                </a:cubicBezTo>
                <a:cubicBezTo>
                  <a:pt x="7159" y="1319"/>
                  <a:pt x="7164" y="1334"/>
                  <a:pt x="7158" y="1336"/>
                </a:cubicBezTo>
                <a:cubicBezTo>
                  <a:pt x="7152" y="1338"/>
                  <a:pt x="7142" y="1336"/>
                  <a:pt x="7142" y="1336"/>
                </a:cubicBezTo>
                <a:cubicBezTo>
                  <a:pt x="7136" y="1326"/>
                  <a:pt x="7136" y="1326"/>
                  <a:pt x="7136" y="1326"/>
                </a:cubicBezTo>
                <a:cubicBezTo>
                  <a:pt x="7136" y="1326"/>
                  <a:pt x="7109" y="1323"/>
                  <a:pt x="7108" y="1328"/>
                </a:cubicBezTo>
                <a:cubicBezTo>
                  <a:pt x="7107" y="1333"/>
                  <a:pt x="7107" y="1346"/>
                  <a:pt x="7107" y="1346"/>
                </a:cubicBezTo>
                <a:cubicBezTo>
                  <a:pt x="7107" y="1346"/>
                  <a:pt x="7091" y="1340"/>
                  <a:pt x="7085" y="1340"/>
                </a:cubicBezTo>
                <a:cubicBezTo>
                  <a:pt x="7079" y="1340"/>
                  <a:pt x="7056" y="1339"/>
                  <a:pt x="7056" y="1339"/>
                </a:cubicBezTo>
                <a:cubicBezTo>
                  <a:pt x="7056" y="1339"/>
                  <a:pt x="7042" y="1344"/>
                  <a:pt x="7034" y="1349"/>
                </a:cubicBezTo>
                <a:cubicBezTo>
                  <a:pt x="7035" y="1353"/>
                  <a:pt x="7038" y="1358"/>
                  <a:pt x="7038" y="1360"/>
                </a:cubicBezTo>
                <a:cubicBezTo>
                  <a:pt x="7039" y="1363"/>
                  <a:pt x="7042" y="1373"/>
                  <a:pt x="7042" y="1373"/>
                </a:cubicBezTo>
                <a:cubicBezTo>
                  <a:pt x="7042" y="1373"/>
                  <a:pt x="7045" y="1379"/>
                  <a:pt x="7047" y="1379"/>
                </a:cubicBezTo>
                <a:cubicBezTo>
                  <a:pt x="7050" y="1379"/>
                  <a:pt x="7053" y="1382"/>
                  <a:pt x="7053" y="1387"/>
                </a:cubicBezTo>
                <a:cubicBezTo>
                  <a:pt x="7054" y="1391"/>
                  <a:pt x="7042" y="1398"/>
                  <a:pt x="7035" y="1399"/>
                </a:cubicBezTo>
                <a:cubicBezTo>
                  <a:pt x="7029" y="1399"/>
                  <a:pt x="7026" y="1394"/>
                  <a:pt x="7023" y="1391"/>
                </a:cubicBezTo>
                <a:cubicBezTo>
                  <a:pt x="7019" y="1387"/>
                  <a:pt x="7025" y="1384"/>
                  <a:pt x="7031" y="1376"/>
                </a:cubicBezTo>
                <a:cubicBezTo>
                  <a:pt x="7037" y="1368"/>
                  <a:pt x="7033" y="1363"/>
                  <a:pt x="7033" y="1363"/>
                </a:cubicBezTo>
                <a:cubicBezTo>
                  <a:pt x="7033" y="1363"/>
                  <a:pt x="7030" y="1360"/>
                  <a:pt x="7028" y="1355"/>
                </a:cubicBezTo>
                <a:cubicBezTo>
                  <a:pt x="7023" y="1362"/>
                  <a:pt x="7012" y="1369"/>
                  <a:pt x="7012" y="1369"/>
                </a:cubicBezTo>
                <a:cubicBezTo>
                  <a:pt x="7012" y="1369"/>
                  <a:pt x="6995" y="1381"/>
                  <a:pt x="6995" y="1388"/>
                </a:cubicBezTo>
                <a:cubicBezTo>
                  <a:pt x="6995" y="1395"/>
                  <a:pt x="6991" y="1408"/>
                  <a:pt x="6991" y="1408"/>
                </a:cubicBezTo>
                <a:cubicBezTo>
                  <a:pt x="6973" y="1428"/>
                  <a:pt x="6973" y="1428"/>
                  <a:pt x="6973" y="1428"/>
                </a:cubicBezTo>
                <a:cubicBezTo>
                  <a:pt x="6979" y="1436"/>
                  <a:pt x="6979" y="1436"/>
                  <a:pt x="6979" y="1436"/>
                </a:cubicBezTo>
                <a:cubicBezTo>
                  <a:pt x="6962" y="1437"/>
                  <a:pt x="6962" y="1437"/>
                  <a:pt x="6962" y="1437"/>
                </a:cubicBezTo>
                <a:cubicBezTo>
                  <a:pt x="6945" y="1443"/>
                  <a:pt x="6945" y="1443"/>
                  <a:pt x="6945" y="1443"/>
                </a:cubicBezTo>
                <a:cubicBezTo>
                  <a:pt x="6934" y="1453"/>
                  <a:pt x="6934" y="1453"/>
                  <a:pt x="6934" y="1453"/>
                </a:cubicBezTo>
                <a:cubicBezTo>
                  <a:pt x="6924" y="1461"/>
                  <a:pt x="6924" y="1461"/>
                  <a:pt x="6924" y="1461"/>
                </a:cubicBezTo>
                <a:cubicBezTo>
                  <a:pt x="6924" y="1461"/>
                  <a:pt x="6908" y="1458"/>
                  <a:pt x="6898" y="1462"/>
                </a:cubicBezTo>
                <a:cubicBezTo>
                  <a:pt x="6888" y="1466"/>
                  <a:pt x="6863" y="1462"/>
                  <a:pt x="6867" y="1470"/>
                </a:cubicBezTo>
                <a:cubicBezTo>
                  <a:pt x="6871" y="1478"/>
                  <a:pt x="6874" y="1485"/>
                  <a:pt x="6874" y="1485"/>
                </a:cubicBezTo>
                <a:cubicBezTo>
                  <a:pt x="6874" y="1485"/>
                  <a:pt x="6882" y="1502"/>
                  <a:pt x="6871" y="1510"/>
                </a:cubicBezTo>
                <a:cubicBezTo>
                  <a:pt x="6860" y="1518"/>
                  <a:pt x="6838" y="1518"/>
                  <a:pt x="6838" y="1518"/>
                </a:cubicBezTo>
                <a:cubicBezTo>
                  <a:pt x="6813" y="1538"/>
                  <a:pt x="6813" y="1538"/>
                  <a:pt x="6813" y="1538"/>
                </a:cubicBezTo>
                <a:cubicBezTo>
                  <a:pt x="6822" y="1544"/>
                  <a:pt x="6822" y="1544"/>
                  <a:pt x="6822" y="1544"/>
                </a:cubicBezTo>
                <a:cubicBezTo>
                  <a:pt x="6822" y="1544"/>
                  <a:pt x="6802" y="1556"/>
                  <a:pt x="6787" y="1555"/>
                </a:cubicBezTo>
                <a:cubicBezTo>
                  <a:pt x="6772" y="1554"/>
                  <a:pt x="6763" y="1549"/>
                  <a:pt x="6763" y="1549"/>
                </a:cubicBezTo>
                <a:cubicBezTo>
                  <a:pt x="6752" y="1534"/>
                  <a:pt x="6752" y="1534"/>
                  <a:pt x="6752" y="1534"/>
                </a:cubicBezTo>
                <a:cubicBezTo>
                  <a:pt x="6752" y="1534"/>
                  <a:pt x="6731" y="1526"/>
                  <a:pt x="6732" y="1533"/>
                </a:cubicBezTo>
                <a:cubicBezTo>
                  <a:pt x="6733" y="1540"/>
                  <a:pt x="6744" y="1554"/>
                  <a:pt x="6744" y="1554"/>
                </a:cubicBezTo>
                <a:cubicBezTo>
                  <a:pt x="6744" y="1554"/>
                  <a:pt x="6757" y="1578"/>
                  <a:pt x="6739" y="1581"/>
                </a:cubicBezTo>
                <a:cubicBezTo>
                  <a:pt x="6721" y="1584"/>
                  <a:pt x="6702" y="1583"/>
                  <a:pt x="6702" y="1583"/>
                </a:cubicBezTo>
                <a:cubicBezTo>
                  <a:pt x="6695" y="1594"/>
                  <a:pt x="6695" y="1594"/>
                  <a:pt x="6695" y="1594"/>
                </a:cubicBezTo>
                <a:cubicBezTo>
                  <a:pt x="6695" y="1594"/>
                  <a:pt x="6679" y="1574"/>
                  <a:pt x="6673" y="1575"/>
                </a:cubicBezTo>
                <a:cubicBezTo>
                  <a:pt x="6667" y="1576"/>
                  <a:pt x="6647" y="1582"/>
                  <a:pt x="6647" y="1582"/>
                </a:cubicBezTo>
                <a:cubicBezTo>
                  <a:pt x="6647" y="1582"/>
                  <a:pt x="6611" y="1587"/>
                  <a:pt x="6608" y="1594"/>
                </a:cubicBezTo>
                <a:cubicBezTo>
                  <a:pt x="6605" y="1601"/>
                  <a:pt x="6627" y="1607"/>
                  <a:pt x="6626" y="1610"/>
                </a:cubicBezTo>
                <a:cubicBezTo>
                  <a:pt x="6625" y="1613"/>
                  <a:pt x="6596" y="1611"/>
                  <a:pt x="6602" y="1619"/>
                </a:cubicBezTo>
                <a:cubicBezTo>
                  <a:pt x="6608" y="1627"/>
                  <a:pt x="6627" y="1628"/>
                  <a:pt x="6627" y="1628"/>
                </a:cubicBezTo>
                <a:cubicBezTo>
                  <a:pt x="6634" y="1624"/>
                  <a:pt x="6634" y="1624"/>
                  <a:pt x="6634" y="1624"/>
                </a:cubicBezTo>
                <a:cubicBezTo>
                  <a:pt x="6666" y="1642"/>
                  <a:pt x="6666" y="1642"/>
                  <a:pt x="6666" y="1642"/>
                </a:cubicBezTo>
                <a:cubicBezTo>
                  <a:pt x="6686" y="1642"/>
                  <a:pt x="6686" y="1642"/>
                  <a:pt x="6686" y="1642"/>
                </a:cubicBezTo>
                <a:cubicBezTo>
                  <a:pt x="6698" y="1654"/>
                  <a:pt x="6698" y="1654"/>
                  <a:pt x="6698" y="1654"/>
                </a:cubicBezTo>
                <a:cubicBezTo>
                  <a:pt x="6724" y="1657"/>
                  <a:pt x="6724" y="1657"/>
                  <a:pt x="6724" y="1657"/>
                </a:cubicBezTo>
                <a:cubicBezTo>
                  <a:pt x="6705" y="1667"/>
                  <a:pt x="6705" y="1667"/>
                  <a:pt x="6705" y="1667"/>
                </a:cubicBezTo>
                <a:cubicBezTo>
                  <a:pt x="6705" y="1667"/>
                  <a:pt x="6724" y="1698"/>
                  <a:pt x="6728" y="1702"/>
                </a:cubicBezTo>
                <a:cubicBezTo>
                  <a:pt x="6732" y="1706"/>
                  <a:pt x="6749" y="1706"/>
                  <a:pt x="6749" y="1706"/>
                </a:cubicBezTo>
                <a:cubicBezTo>
                  <a:pt x="6747" y="1735"/>
                  <a:pt x="6747" y="1735"/>
                  <a:pt x="6747" y="1735"/>
                </a:cubicBezTo>
                <a:cubicBezTo>
                  <a:pt x="6760" y="1755"/>
                  <a:pt x="6760" y="1755"/>
                  <a:pt x="6760" y="1755"/>
                </a:cubicBezTo>
                <a:cubicBezTo>
                  <a:pt x="6769" y="1778"/>
                  <a:pt x="6769" y="1778"/>
                  <a:pt x="6769" y="1778"/>
                </a:cubicBezTo>
                <a:cubicBezTo>
                  <a:pt x="6748" y="1752"/>
                  <a:pt x="6748" y="1752"/>
                  <a:pt x="6748" y="1752"/>
                </a:cubicBezTo>
                <a:cubicBezTo>
                  <a:pt x="6748" y="1752"/>
                  <a:pt x="6746" y="1781"/>
                  <a:pt x="6745" y="1791"/>
                </a:cubicBezTo>
                <a:cubicBezTo>
                  <a:pt x="6744" y="1801"/>
                  <a:pt x="6733" y="1841"/>
                  <a:pt x="6728" y="1849"/>
                </a:cubicBezTo>
                <a:cubicBezTo>
                  <a:pt x="6724" y="1856"/>
                  <a:pt x="6726" y="1865"/>
                  <a:pt x="6714" y="1867"/>
                </a:cubicBezTo>
                <a:cubicBezTo>
                  <a:pt x="6712" y="1867"/>
                  <a:pt x="6710" y="1867"/>
                  <a:pt x="6708" y="1867"/>
                </a:cubicBezTo>
                <a:cubicBezTo>
                  <a:pt x="6689" y="1867"/>
                  <a:pt x="6642" y="1858"/>
                  <a:pt x="6642" y="1858"/>
                </a:cubicBezTo>
                <a:cubicBezTo>
                  <a:pt x="6622" y="1866"/>
                  <a:pt x="6622" y="1866"/>
                  <a:pt x="6622" y="1866"/>
                </a:cubicBezTo>
                <a:cubicBezTo>
                  <a:pt x="6584" y="1862"/>
                  <a:pt x="6584" y="1862"/>
                  <a:pt x="6584" y="1862"/>
                </a:cubicBezTo>
                <a:cubicBezTo>
                  <a:pt x="6584" y="1862"/>
                  <a:pt x="6559" y="1848"/>
                  <a:pt x="6544" y="1851"/>
                </a:cubicBezTo>
                <a:cubicBezTo>
                  <a:pt x="6529" y="1854"/>
                  <a:pt x="6508" y="1855"/>
                  <a:pt x="6503" y="1855"/>
                </a:cubicBezTo>
                <a:cubicBezTo>
                  <a:pt x="6498" y="1855"/>
                  <a:pt x="6479" y="1852"/>
                  <a:pt x="6479" y="1852"/>
                </a:cubicBezTo>
                <a:cubicBezTo>
                  <a:pt x="6479" y="1852"/>
                  <a:pt x="6469" y="1844"/>
                  <a:pt x="6463" y="1844"/>
                </a:cubicBezTo>
                <a:cubicBezTo>
                  <a:pt x="6457" y="1844"/>
                  <a:pt x="6437" y="1862"/>
                  <a:pt x="6437" y="1862"/>
                </a:cubicBezTo>
                <a:cubicBezTo>
                  <a:pt x="6437" y="1862"/>
                  <a:pt x="6392" y="1869"/>
                  <a:pt x="6390" y="1882"/>
                </a:cubicBezTo>
                <a:cubicBezTo>
                  <a:pt x="6388" y="1895"/>
                  <a:pt x="6409" y="1911"/>
                  <a:pt x="6409" y="1911"/>
                </a:cubicBezTo>
                <a:cubicBezTo>
                  <a:pt x="6401" y="1934"/>
                  <a:pt x="6401" y="1934"/>
                  <a:pt x="6401" y="1934"/>
                </a:cubicBezTo>
                <a:cubicBezTo>
                  <a:pt x="6401" y="1934"/>
                  <a:pt x="6402" y="1938"/>
                  <a:pt x="6403" y="1945"/>
                </a:cubicBezTo>
                <a:cubicBezTo>
                  <a:pt x="6406" y="1955"/>
                  <a:pt x="6409" y="1972"/>
                  <a:pt x="6408" y="1985"/>
                </a:cubicBezTo>
                <a:cubicBezTo>
                  <a:pt x="6407" y="2006"/>
                  <a:pt x="6385" y="2046"/>
                  <a:pt x="6385" y="2046"/>
                </a:cubicBezTo>
                <a:cubicBezTo>
                  <a:pt x="6371" y="2078"/>
                  <a:pt x="6371" y="2078"/>
                  <a:pt x="6371" y="2078"/>
                </a:cubicBezTo>
                <a:cubicBezTo>
                  <a:pt x="6371" y="2078"/>
                  <a:pt x="6362" y="2105"/>
                  <a:pt x="6368" y="2112"/>
                </a:cubicBezTo>
                <a:cubicBezTo>
                  <a:pt x="6374" y="2119"/>
                  <a:pt x="6385" y="2123"/>
                  <a:pt x="6385" y="2123"/>
                </a:cubicBezTo>
                <a:cubicBezTo>
                  <a:pt x="6392" y="2160"/>
                  <a:pt x="6392" y="2160"/>
                  <a:pt x="6392" y="2160"/>
                </a:cubicBezTo>
                <a:cubicBezTo>
                  <a:pt x="6392" y="2160"/>
                  <a:pt x="6376" y="2202"/>
                  <a:pt x="6382" y="2203"/>
                </a:cubicBezTo>
                <a:cubicBezTo>
                  <a:pt x="6388" y="2204"/>
                  <a:pt x="6414" y="2200"/>
                  <a:pt x="6414" y="2200"/>
                </a:cubicBezTo>
                <a:cubicBezTo>
                  <a:pt x="6414" y="2200"/>
                  <a:pt x="6418" y="2209"/>
                  <a:pt x="6424" y="2208"/>
                </a:cubicBezTo>
                <a:cubicBezTo>
                  <a:pt x="6429" y="2207"/>
                  <a:pt x="6446" y="2197"/>
                  <a:pt x="6449" y="2195"/>
                </a:cubicBezTo>
                <a:cubicBezTo>
                  <a:pt x="6450" y="2195"/>
                  <a:pt x="6450" y="2195"/>
                  <a:pt x="6450" y="2195"/>
                </a:cubicBezTo>
                <a:cubicBezTo>
                  <a:pt x="6469" y="2194"/>
                  <a:pt x="6469" y="2194"/>
                  <a:pt x="6469" y="2194"/>
                </a:cubicBezTo>
                <a:cubicBezTo>
                  <a:pt x="6485" y="2209"/>
                  <a:pt x="6485" y="2209"/>
                  <a:pt x="6485" y="2209"/>
                </a:cubicBezTo>
                <a:cubicBezTo>
                  <a:pt x="6497" y="2209"/>
                  <a:pt x="6497" y="2209"/>
                  <a:pt x="6497" y="2209"/>
                </a:cubicBezTo>
                <a:cubicBezTo>
                  <a:pt x="6491" y="2226"/>
                  <a:pt x="6491" y="2226"/>
                  <a:pt x="6491" y="2226"/>
                </a:cubicBezTo>
                <a:cubicBezTo>
                  <a:pt x="6498" y="2227"/>
                  <a:pt x="6498" y="2227"/>
                  <a:pt x="6498" y="2227"/>
                </a:cubicBezTo>
                <a:cubicBezTo>
                  <a:pt x="6498" y="2227"/>
                  <a:pt x="6498" y="2247"/>
                  <a:pt x="6505" y="2250"/>
                </a:cubicBezTo>
                <a:cubicBezTo>
                  <a:pt x="6512" y="2253"/>
                  <a:pt x="6524" y="2257"/>
                  <a:pt x="6524" y="2257"/>
                </a:cubicBezTo>
                <a:cubicBezTo>
                  <a:pt x="6524" y="2257"/>
                  <a:pt x="6541" y="2245"/>
                  <a:pt x="6544" y="2239"/>
                </a:cubicBezTo>
                <a:cubicBezTo>
                  <a:pt x="6547" y="2233"/>
                  <a:pt x="6565" y="2233"/>
                  <a:pt x="6565" y="2233"/>
                </a:cubicBezTo>
                <a:cubicBezTo>
                  <a:pt x="6584" y="2221"/>
                  <a:pt x="6584" y="2221"/>
                  <a:pt x="6584" y="2221"/>
                </a:cubicBezTo>
                <a:cubicBezTo>
                  <a:pt x="6584" y="2221"/>
                  <a:pt x="6617" y="2223"/>
                  <a:pt x="6623" y="2221"/>
                </a:cubicBezTo>
                <a:cubicBezTo>
                  <a:pt x="6629" y="2219"/>
                  <a:pt x="6639" y="2215"/>
                  <a:pt x="6639" y="2215"/>
                </a:cubicBezTo>
                <a:cubicBezTo>
                  <a:pt x="6639" y="2215"/>
                  <a:pt x="6647" y="2223"/>
                  <a:pt x="6653" y="2222"/>
                </a:cubicBezTo>
                <a:cubicBezTo>
                  <a:pt x="6659" y="2221"/>
                  <a:pt x="6675" y="2214"/>
                  <a:pt x="6675" y="2214"/>
                </a:cubicBezTo>
                <a:cubicBezTo>
                  <a:pt x="6675" y="2214"/>
                  <a:pt x="6674" y="2226"/>
                  <a:pt x="6685" y="2218"/>
                </a:cubicBezTo>
                <a:cubicBezTo>
                  <a:pt x="6696" y="2210"/>
                  <a:pt x="6698" y="2191"/>
                  <a:pt x="6698" y="2191"/>
                </a:cubicBezTo>
                <a:cubicBezTo>
                  <a:pt x="6719" y="2173"/>
                  <a:pt x="6719" y="2173"/>
                  <a:pt x="6719" y="2173"/>
                </a:cubicBezTo>
                <a:cubicBezTo>
                  <a:pt x="6742" y="2172"/>
                  <a:pt x="6742" y="2172"/>
                  <a:pt x="6742" y="2172"/>
                </a:cubicBezTo>
                <a:cubicBezTo>
                  <a:pt x="6744" y="2159"/>
                  <a:pt x="6744" y="2159"/>
                  <a:pt x="6744" y="2159"/>
                </a:cubicBezTo>
                <a:cubicBezTo>
                  <a:pt x="6744" y="2159"/>
                  <a:pt x="6755" y="2130"/>
                  <a:pt x="6758" y="2128"/>
                </a:cubicBezTo>
                <a:cubicBezTo>
                  <a:pt x="6761" y="2126"/>
                  <a:pt x="6788" y="2123"/>
                  <a:pt x="6789" y="2114"/>
                </a:cubicBezTo>
                <a:cubicBezTo>
                  <a:pt x="6790" y="2105"/>
                  <a:pt x="6767" y="2093"/>
                  <a:pt x="6767" y="2093"/>
                </a:cubicBezTo>
                <a:cubicBezTo>
                  <a:pt x="6767" y="2093"/>
                  <a:pt x="6765" y="2070"/>
                  <a:pt x="6773" y="2059"/>
                </a:cubicBezTo>
                <a:cubicBezTo>
                  <a:pt x="6781" y="2048"/>
                  <a:pt x="6792" y="2035"/>
                  <a:pt x="6792" y="2035"/>
                </a:cubicBezTo>
                <a:cubicBezTo>
                  <a:pt x="6792" y="2035"/>
                  <a:pt x="6809" y="2017"/>
                  <a:pt x="6812" y="2016"/>
                </a:cubicBezTo>
                <a:cubicBezTo>
                  <a:pt x="6815" y="2015"/>
                  <a:pt x="6827" y="2007"/>
                  <a:pt x="6824" y="2005"/>
                </a:cubicBezTo>
                <a:cubicBezTo>
                  <a:pt x="6821" y="2003"/>
                  <a:pt x="6816" y="1995"/>
                  <a:pt x="6826" y="1990"/>
                </a:cubicBezTo>
                <a:cubicBezTo>
                  <a:pt x="6836" y="1985"/>
                  <a:pt x="6860" y="1980"/>
                  <a:pt x="6873" y="1975"/>
                </a:cubicBezTo>
                <a:cubicBezTo>
                  <a:pt x="6886" y="1970"/>
                  <a:pt x="6902" y="1957"/>
                  <a:pt x="6902" y="1957"/>
                </a:cubicBezTo>
                <a:cubicBezTo>
                  <a:pt x="6902" y="1957"/>
                  <a:pt x="6922" y="1948"/>
                  <a:pt x="6923" y="1945"/>
                </a:cubicBezTo>
                <a:cubicBezTo>
                  <a:pt x="6924" y="1942"/>
                  <a:pt x="6922" y="1930"/>
                  <a:pt x="6922" y="1930"/>
                </a:cubicBezTo>
                <a:cubicBezTo>
                  <a:pt x="6930" y="1925"/>
                  <a:pt x="6930" y="1925"/>
                  <a:pt x="6930" y="1925"/>
                </a:cubicBezTo>
                <a:cubicBezTo>
                  <a:pt x="6930" y="1925"/>
                  <a:pt x="6918" y="1919"/>
                  <a:pt x="6915" y="1911"/>
                </a:cubicBezTo>
                <a:cubicBezTo>
                  <a:pt x="6915" y="1910"/>
                  <a:pt x="6915" y="1909"/>
                  <a:pt x="6915" y="1908"/>
                </a:cubicBezTo>
                <a:cubicBezTo>
                  <a:pt x="6915" y="1898"/>
                  <a:pt x="6930" y="1875"/>
                  <a:pt x="6937" y="1871"/>
                </a:cubicBezTo>
                <a:cubicBezTo>
                  <a:pt x="6944" y="1867"/>
                  <a:pt x="6965" y="1850"/>
                  <a:pt x="6974" y="1855"/>
                </a:cubicBezTo>
                <a:cubicBezTo>
                  <a:pt x="6983" y="1860"/>
                  <a:pt x="6991" y="1865"/>
                  <a:pt x="6991" y="1865"/>
                </a:cubicBezTo>
                <a:cubicBezTo>
                  <a:pt x="6991" y="1865"/>
                  <a:pt x="7014" y="1859"/>
                  <a:pt x="7019" y="1864"/>
                </a:cubicBezTo>
                <a:cubicBezTo>
                  <a:pt x="7024" y="1869"/>
                  <a:pt x="7031" y="1877"/>
                  <a:pt x="7034" y="1879"/>
                </a:cubicBezTo>
                <a:cubicBezTo>
                  <a:pt x="7034" y="1879"/>
                  <a:pt x="7059" y="1889"/>
                  <a:pt x="7072" y="1879"/>
                </a:cubicBezTo>
                <a:cubicBezTo>
                  <a:pt x="7085" y="1869"/>
                  <a:pt x="7089" y="1850"/>
                  <a:pt x="7095" y="1848"/>
                </a:cubicBezTo>
                <a:cubicBezTo>
                  <a:pt x="7097" y="1847"/>
                  <a:pt x="7103" y="1847"/>
                  <a:pt x="7109" y="1846"/>
                </a:cubicBezTo>
                <a:cubicBezTo>
                  <a:pt x="7118" y="1845"/>
                  <a:pt x="7128" y="1844"/>
                  <a:pt x="7132" y="1840"/>
                </a:cubicBezTo>
                <a:cubicBezTo>
                  <a:pt x="7139" y="1833"/>
                  <a:pt x="7157" y="1812"/>
                  <a:pt x="7167" y="1812"/>
                </a:cubicBezTo>
                <a:cubicBezTo>
                  <a:pt x="7177" y="1812"/>
                  <a:pt x="7206" y="1819"/>
                  <a:pt x="7218" y="1829"/>
                </a:cubicBezTo>
                <a:cubicBezTo>
                  <a:pt x="7230" y="1839"/>
                  <a:pt x="7234" y="1859"/>
                  <a:pt x="7234" y="1859"/>
                </a:cubicBezTo>
                <a:cubicBezTo>
                  <a:pt x="7242" y="1867"/>
                  <a:pt x="7242" y="1867"/>
                  <a:pt x="7242" y="1867"/>
                </a:cubicBezTo>
                <a:cubicBezTo>
                  <a:pt x="7242" y="1867"/>
                  <a:pt x="7234" y="1888"/>
                  <a:pt x="7243" y="1893"/>
                </a:cubicBezTo>
                <a:cubicBezTo>
                  <a:pt x="7252" y="1898"/>
                  <a:pt x="7267" y="1903"/>
                  <a:pt x="7267" y="1903"/>
                </a:cubicBezTo>
                <a:cubicBezTo>
                  <a:pt x="7271" y="1916"/>
                  <a:pt x="7271" y="1916"/>
                  <a:pt x="7271" y="1916"/>
                </a:cubicBezTo>
                <a:cubicBezTo>
                  <a:pt x="7291" y="1917"/>
                  <a:pt x="7291" y="1917"/>
                  <a:pt x="7291" y="1917"/>
                </a:cubicBezTo>
                <a:cubicBezTo>
                  <a:pt x="7291" y="1917"/>
                  <a:pt x="7324" y="1951"/>
                  <a:pt x="7333" y="1961"/>
                </a:cubicBezTo>
                <a:cubicBezTo>
                  <a:pt x="7342" y="1971"/>
                  <a:pt x="7350" y="1980"/>
                  <a:pt x="7350" y="1980"/>
                </a:cubicBezTo>
                <a:cubicBezTo>
                  <a:pt x="7377" y="1981"/>
                  <a:pt x="7377" y="1981"/>
                  <a:pt x="7377" y="1981"/>
                </a:cubicBezTo>
                <a:cubicBezTo>
                  <a:pt x="7377" y="1981"/>
                  <a:pt x="7384" y="1996"/>
                  <a:pt x="7399" y="2001"/>
                </a:cubicBezTo>
                <a:cubicBezTo>
                  <a:pt x="7414" y="2006"/>
                  <a:pt x="7433" y="2002"/>
                  <a:pt x="7436" y="2009"/>
                </a:cubicBezTo>
                <a:cubicBezTo>
                  <a:pt x="7439" y="2016"/>
                  <a:pt x="7440" y="2039"/>
                  <a:pt x="7453" y="2042"/>
                </a:cubicBezTo>
                <a:cubicBezTo>
                  <a:pt x="7466" y="2045"/>
                  <a:pt x="7471" y="2040"/>
                  <a:pt x="7471" y="2040"/>
                </a:cubicBezTo>
                <a:cubicBezTo>
                  <a:pt x="7471" y="2040"/>
                  <a:pt x="7474" y="2059"/>
                  <a:pt x="7476" y="2073"/>
                </a:cubicBezTo>
                <a:cubicBezTo>
                  <a:pt x="7478" y="2087"/>
                  <a:pt x="7491" y="2086"/>
                  <a:pt x="7491" y="2096"/>
                </a:cubicBezTo>
                <a:cubicBezTo>
                  <a:pt x="7491" y="2106"/>
                  <a:pt x="7492" y="2113"/>
                  <a:pt x="7492" y="2113"/>
                </a:cubicBezTo>
                <a:cubicBezTo>
                  <a:pt x="7479" y="2112"/>
                  <a:pt x="7479" y="2112"/>
                  <a:pt x="7479" y="2112"/>
                </a:cubicBezTo>
                <a:cubicBezTo>
                  <a:pt x="7478" y="2127"/>
                  <a:pt x="7478" y="2127"/>
                  <a:pt x="7478" y="2127"/>
                </a:cubicBezTo>
                <a:cubicBezTo>
                  <a:pt x="7478" y="2127"/>
                  <a:pt x="7458" y="2156"/>
                  <a:pt x="7469" y="2156"/>
                </a:cubicBezTo>
                <a:cubicBezTo>
                  <a:pt x="7480" y="2156"/>
                  <a:pt x="7488" y="2150"/>
                  <a:pt x="7488" y="2150"/>
                </a:cubicBezTo>
                <a:cubicBezTo>
                  <a:pt x="7496" y="2135"/>
                  <a:pt x="7496" y="2135"/>
                  <a:pt x="7496" y="2135"/>
                </a:cubicBezTo>
                <a:cubicBezTo>
                  <a:pt x="7509" y="2133"/>
                  <a:pt x="7509" y="2133"/>
                  <a:pt x="7509" y="2133"/>
                </a:cubicBezTo>
                <a:cubicBezTo>
                  <a:pt x="7509" y="2133"/>
                  <a:pt x="7506" y="2111"/>
                  <a:pt x="7510" y="2108"/>
                </a:cubicBezTo>
                <a:cubicBezTo>
                  <a:pt x="7514" y="2105"/>
                  <a:pt x="7535" y="2099"/>
                  <a:pt x="7535" y="2099"/>
                </a:cubicBezTo>
                <a:cubicBezTo>
                  <a:pt x="7535" y="2099"/>
                  <a:pt x="7530" y="2079"/>
                  <a:pt x="7526" y="2075"/>
                </a:cubicBezTo>
                <a:cubicBezTo>
                  <a:pt x="7522" y="2071"/>
                  <a:pt x="7504" y="2066"/>
                  <a:pt x="7505" y="2059"/>
                </a:cubicBezTo>
                <a:cubicBezTo>
                  <a:pt x="7506" y="2052"/>
                  <a:pt x="7519" y="2018"/>
                  <a:pt x="7527" y="2021"/>
                </a:cubicBezTo>
                <a:cubicBezTo>
                  <a:pt x="7535" y="2024"/>
                  <a:pt x="7542" y="2028"/>
                  <a:pt x="7542" y="2028"/>
                </a:cubicBezTo>
                <a:cubicBezTo>
                  <a:pt x="7562" y="2028"/>
                  <a:pt x="7562" y="2028"/>
                  <a:pt x="7562" y="2028"/>
                </a:cubicBezTo>
                <a:cubicBezTo>
                  <a:pt x="7562" y="2028"/>
                  <a:pt x="7565" y="2051"/>
                  <a:pt x="7579" y="2052"/>
                </a:cubicBezTo>
                <a:cubicBezTo>
                  <a:pt x="7593" y="2053"/>
                  <a:pt x="7597" y="2039"/>
                  <a:pt x="7589" y="2030"/>
                </a:cubicBezTo>
                <a:cubicBezTo>
                  <a:pt x="7581" y="2021"/>
                  <a:pt x="7555" y="2004"/>
                  <a:pt x="7555" y="2004"/>
                </a:cubicBezTo>
                <a:cubicBezTo>
                  <a:pt x="7525" y="1988"/>
                  <a:pt x="7525" y="1988"/>
                  <a:pt x="7525" y="1988"/>
                </a:cubicBezTo>
                <a:cubicBezTo>
                  <a:pt x="7525" y="1988"/>
                  <a:pt x="7472" y="1975"/>
                  <a:pt x="7476" y="1966"/>
                </a:cubicBezTo>
                <a:cubicBezTo>
                  <a:pt x="7480" y="1957"/>
                  <a:pt x="7489" y="1956"/>
                  <a:pt x="7488" y="1948"/>
                </a:cubicBezTo>
                <a:cubicBezTo>
                  <a:pt x="7487" y="1940"/>
                  <a:pt x="7439" y="1938"/>
                  <a:pt x="7439" y="1938"/>
                </a:cubicBezTo>
                <a:cubicBezTo>
                  <a:pt x="7439" y="1938"/>
                  <a:pt x="7425" y="1933"/>
                  <a:pt x="7408" y="1916"/>
                </a:cubicBezTo>
                <a:cubicBezTo>
                  <a:pt x="7391" y="1899"/>
                  <a:pt x="7385" y="1883"/>
                  <a:pt x="7385" y="1883"/>
                </a:cubicBezTo>
                <a:cubicBezTo>
                  <a:pt x="7385" y="1883"/>
                  <a:pt x="7380" y="1859"/>
                  <a:pt x="7370" y="1853"/>
                </a:cubicBezTo>
                <a:cubicBezTo>
                  <a:pt x="7360" y="1847"/>
                  <a:pt x="7349" y="1837"/>
                  <a:pt x="7349" y="1837"/>
                </a:cubicBezTo>
                <a:cubicBezTo>
                  <a:pt x="7323" y="1815"/>
                  <a:pt x="7323" y="1815"/>
                  <a:pt x="7323" y="1815"/>
                </a:cubicBezTo>
                <a:cubicBezTo>
                  <a:pt x="7323" y="1815"/>
                  <a:pt x="7309" y="1793"/>
                  <a:pt x="7314" y="1791"/>
                </a:cubicBezTo>
                <a:cubicBezTo>
                  <a:pt x="7319" y="1789"/>
                  <a:pt x="7327" y="1787"/>
                  <a:pt x="7327" y="1782"/>
                </a:cubicBezTo>
                <a:cubicBezTo>
                  <a:pt x="7327" y="1777"/>
                  <a:pt x="7310" y="1768"/>
                  <a:pt x="7318" y="1759"/>
                </a:cubicBezTo>
                <a:cubicBezTo>
                  <a:pt x="7326" y="1750"/>
                  <a:pt x="7349" y="1744"/>
                  <a:pt x="7349" y="1744"/>
                </a:cubicBezTo>
                <a:cubicBezTo>
                  <a:pt x="7363" y="1738"/>
                  <a:pt x="7363" y="1738"/>
                  <a:pt x="7363" y="1738"/>
                </a:cubicBezTo>
                <a:cubicBezTo>
                  <a:pt x="7363" y="1738"/>
                  <a:pt x="7386" y="1742"/>
                  <a:pt x="7383" y="1746"/>
                </a:cubicBezTo>
                <a:cubicBezTo>
                  <a:pt x="7382" y="1748"/>
                  <a:pt x="7380" y="1752"/>
                  <a:pt x="7378" y="1756"/>
                </a:cubicBezTo>
                <a:cubicBezTo>
                  <a:pt x="7376" y="1760"/>
                  <a:pt x="7374" y="1765"/>
                  <a:pt x="7374" y="1765"/>
                </a:cubicBezTo>
                <a:cubicBezTo>
                  <a:pt x="7374" y="1765"/>
                  <a:pt x="7373" y="1795"/>
                  <a:pt x="7381" y="1786"/>
                </a:cubicBezTo>
                <a:cubicBezTo>
                  <a:pt x="7389" y="1777"/>
                  <a:pt x="7400" y="1762"/>
                  <a:pt x="7404" y="1768"/>
                </a:cubicBezTo>
                <a:cubicBezTo>
                  <a:pt x="7408" y="1774"/>
                  <a:pt x="7408" y="1789"/>
                  <a:pt x="7408" y="1789"/>
                </a:cubicBezTo>
                <a:cubicBezTo>
                  <a:pt x="7427" y="1785"/>
                  <a:pt x="7427" y="1785"/>
                  <a:pt x="7427" y="1785"/>
                </a:cubicBezTo>
                <a:cubicBezTo>
                  <a:pt x="7427" y="1785"/>
                  <a:pt x="7421" y="1805"/>
                  <a:pt x="7433" y="1809"/>
                </a:cubicBezTo>
                <a:cubicBezTo>
                  <a:pt x="7445" y="1813"/>
                  <a:pt x="7441" y="1821"/>
                  <a:pt x="7441" y="1821"/>
                </a:cubicBezTo>
                <a:cubicBezTo>
                  <a:pt x="7470" y="1842"/>
                  <a:pt x="7470" y="1842"/>
                  <a:pt x="7470" y="1842"/>
                </a:cubicBezTo>
                <a:cubicBezTo>
                  <a:pt x="7471" y="1859"/>
                  <a:pt x="7471" y="1859"/>
                  <a:pt x="7471" y="1859"/>
                </a:cubicBezTo>
                <a:cubicBezTo>
                  <a:pt x="7498" y="1860"/>
                  <a:pt x="7498" y="1860"/>
                  <a:pt x="7498" y="1860"/>
                </a:cubicBezTo>
                <a:cubicBezTo>
                  <a:pt x="7498" y="1860"/>
                  <a:pt x="7515" y="1861"/>
                  <a:pt x="7519" y="1869"/>
                </a:cubicBezTo>
                <a:cubicBezTo>
                  <a:pt x="7519" y="1869"/>
                  <a:pt x="7515" y="1878"/>
                  <a:pt x="7521" y="1882"/>
                </a:cubicBezTo>
                <a:cubicBezTo>
                  <a:pt x="7538" y="1884"/>
                  <a:pt x="7538" y="1884"/>
                  <a:pt x="7538" y="1884"/>
                </a:cubicBezTo>
                <a:cubicBezTo>
                  <a:pt x="7546" y="1885"/>
                  <a:pt x="7546" y="1885"/>
                  <a:pt x="7546" y="1885"/>
                </a:cubicBezTo>
                <a:cubicBezTo>
                  <a:pt x="7546" y="1885"/>
                  <a:pt x="7573" y="1912"/>
                  <a:pt x="7582" y="1917"/>
                </a:cubicBezTo>
                <a:cubicBezTo>
                  <a:pt x="7583" y="1918"/>
                  <a:pt x="7584" y="1918"/>
                  <a:pt x="7584" y="1918"/>
                </a:cubicBezTo>
                <a:cubicBezTo>
                  <a:pt x="7591" y="1920"/>
                  <a:pt x="7602" y="1915"/>
                  <a:pt x="7602" y="1915"/>
                </a:cubicBezTo>
                <a:cubicBezTo>
                  <a:pt x="7602" y="1927"/>
                  <a:pt x="7602" y="1927"/>
                  <a:pt x="7602" y="1927"/>
                </a:cubicBezTo>
                <a:cubicBezTo>
                  <a:pt x="7619" y="1943"/>
                  <a:pt x="7619" y="1943"/>
                  <a:pt x="7619" y="1943"/>
                </a:cubicBezTo>
                <a:cubicBezTo>
                  <a:pt x="7623" y="1947"/>
                  <a:pt x="7623" y="1947"/>
                  <a:pt x="7623" y="1947"/>
                </a:cubicBezTo>
                <a:cubicBezTo>
                  <a:pt x="7639" y="1947"/>
                  <a:pt x="7639" y="1947"/>
                  <a:pt x="7639" y="1947"/>
                </a:cubicBezTo>
                <a:cubicBezTo>
                  <a:pt x="7639" y="1947"/>
                  <a:pt x="7634" y="1986"/>
                  <a:pt x="7633" y="1998"/>
                </a:cubicBezTo>
                <a:cubicBezTo>
                  <a:pt x="7632" y="2010"/>
                  <a:pt x="7621" y="2026"/>
                  <a:pt x="7626" y="2031"/>
                </a:cubicBezTo>
                <a:cubicBezTo>
                  <a:pt x="7631" y="2036"/>
                  <a:pt x="7649" y="2046"/>
                  <a:pt x="7649" y="2046"/>
                </a:cubicBezTo>
                <a:cubicBezTo>
                  <a:pt x="7649" y="2046"/>
                  <a:pt x="7646" y="2066"/>
                  <a:pt x="7650" y="2065"/>
                </a:cubicBezTo>
                <a:cubicBezTo>
                  <a:pt x="7654" y="2064"/>
                  <a:pt x="7673" y="2067"/>
                  <a:pt x="7673" y="2067"/>
                </a:cubicBezTo>
                <a:cubicBezTo>
                  <a:pt x="7673" y="2067"/>
                  <a:pt x="7668" y="2084"/>
                  <a:pt x="7677" y="2087"/>
                </a:cubicBezTo>
                <a:cubicBezTo>
                  <a:pt x="7686" y="2090"/>
                  <a:pt x="7697" y="2107"/>
                  <a:pt x="7697" y="2107"/>
                </a:cubicBezTo>
                <a:cubicBezTo>
                  <a:pt x="7697" y="2107"/>
                  <a:pt x="7707" y="2130"/>
                  <a:pt x="7715" y="2130"/>
                </a:cubicBezTo>
                <a:cubicBezTo>
                  <a:pt x="7723" y="2130"/>
                  <a:pt x="7744" y="2129"/>
                  <a:pt x="7744" y="2129"/>
                </a:cubicBezTo>
                <a:cubicBezTo>
                  <a:pt x="7744" y="2129"/>
                  <a:pt x="7758" y="2124"/>
                  <a:pt x="7765" y="2127"/>
                </a:cubicBezTo>
                <a:cubicBezTo>
                  <a:pt x="7772" y="2130"/>
                  <a:pt x="7809" y="2144"/>
                  <a:pt x="7809" y="2144"/>
                </a:cubicBezTo>
                <a:cubicBezTo>
                  <a:pt x="7809" y="2144"/>
                  <a:pt x="7831" y="2167"/>
                  <a:pt x="7836" y="2161"/>
                </a:cubicBezTo>
                <a:cubicBezTo>
                  <a:pt x="7841" y="2155"/>
                  <a:pt x="7842" y="2146"/>
                  <a:pt x="7834" y="2139"/>
                </a:cubicBezTo>
                <a:cubicBezTo>
                  <a:pt x="7826" y="2132"/>
                  <a:pt x="7810" y="2119"/>
                  <a:pt x="7807" y="2118"/>
                </a:cubicBezTo>
                <a:cubicBezTo>
                  <a:pt x="7804" y="2117"/>
                  <a:pt x="7785" y="2108"/>
                  <a:pt x="7785" y="2108"/>
                </a:cubicBezTo>
                <a:cubicBezTo>
                  <a:pt x="7785" y="2108"/>
                  <a:pt x="7792" y="2102"/>
                  <a:pt x="7796" y="2103"/>
                </a:cubicBezTo>
                <a:cubicBezTo>
                  <a:pt x="7800" y="2104"/>
                  <a:pt x="7823" y="2127"/>
                  <a:pt x="7837" y="2129"/>
                </a:cubicBezTo>
                <a:cubicBezTo>
                  <a:pt x="7851" y="2131"/>
                  <a:pt x="7857" y="2115"/>
                  <a:pt x="7844" y="2113"/>
                </a:cubicBezTo>
                <a:cubicBezTo>
                  <a:pt x="7831" y="2111"/>
                  <a:pt x="7821" y="2107"/>
                  <a:pt x="7821" y="2107"/>
                </a:cubicBezTo>
                <a:cubicBezTo>
                  <a:pt x="7821" y="2107"/>
                  <a:pt x="7807" y="2099"/>
                  <a:pt x="7805" y="2092"/>
                </a:cubicBezTo>
                <a:cubicBezTo>
                  <a:pt x="7803" y="2085"/>
                  <a:pt x="7791" y="2068"/>
                  <a:pt x="7791" y="2068"/>
                </a:cubicBezTo>
                <a:cubicBezTo>
                  <a:pt x="7791" y="2068"/>
                  <a:pt x="7780" y="2051"/>
                  <a:pt x="7775" y="2045"/>
                </a:cubicBezTo>
                <a:cubicBezTo>
                  <a:pt x="7770" y="2039"/>
                  <a:pt x="7765" y="2018"/>
                  <a:pt x="7772" y="2015"/>
                </a:cubicBezTo>
                <a:cubicBezTo>
                  <a:pt x="7779" y="2012"/>
                  <a:pt x="7781" y="2029"/>
                  <a:pt x="7789" y="2029"/>
                </a:cubicBezTo>
                <a:cubicBezTo>
                  <a:pt x="7791" y="2029"/>
                  <a:pt x="7794" y="2029"/>
                  <a:pt x="7797" y="2029"/>
                </a:cubicBezTo>
                <a:cubicBezTo>
                  <a:pt x="7801" y="2037"/>
                  <a:pt x="7805" y="2046"/>
                  <a:pt x="7807" y="2047"/>
                </a:cubicBezTo>
                <a:cubicBezTo>
                  <a:pt x="7810" y="2049"/>
                  <a:pt x="7816" y="2045"/>
                  <a:pt x="7816" y="2045"/>
                </a:cubicBezTo>
                <a:cubicBezTo>
                  <a:pt x="7808" y="2030"/>
                  <a:pt x="7808" y="2030"/>
                  <a:pt x="7808" y="2030"/>
                </a:cubicBezTo>
                <a:cubicBezTo>
                  <a:pt x="7809" y="2030"/>
                  <a:pt x="7810" y="2030"/>
                  <a:pt x="7811" y="2030"/>
                </a:cubicBezTo>
                <a:cubicBezTo>
                  <a:pt x="7829" y="2041"/>
                  <a:pt x="7829" y="2041"/>
                  <a:pt x="7829" y="2041"/>
                </a:cubicBezTo>
                <a:cubicBezTo>
                  <a:pt x="7820" y="2028"/>
                  <a:pt x="7820" y="2028"/>
                  <a:pt x="7820" y="2028"/>
                </a:cubicBezTo>
                <a:cubicBezTo>
                  <a:pt x="7820" y="2028"/>
                  <a:pt x="7821" y="2028"/>
                  <a:pt x="7821" y="2028"/>
                </a:cubicBezTo>
                <a:cubicBezTo>
                  <a:pt x="7824" y="2025"/>
                  <a:pt x="7825" y="2017"/>
                  <a:pt x="7824" y="2009"/>
                </a:cubicBezTo>
                <a:cubicBezTo>
                  <a:pt x="7823" y="2001"/>
                  <a:pt x="7841" y="1997"/>
                  <a:pt x="7850" y="2000"/>
                </a:cubicBezTo>
                <a:cubicBezTo>
                  <a:pt x="7859" y="2003"/>
                  <a:pt x="7852" y="2016"/>
                  <a:pt x="7861" y="2013"/>
                </a:cubicBezTo>
                <a:cubicBezTo>
                  <a:pt x="7870" y="2010"/>
                  <a:pt x="7873" y="1995"/>
                  <a:pt x="7878" y="1994"/>
                </a:cubicBezTo>
                <a:cubicBezTo>
                  <a:pt x="7883" y="1993"/>
                  <a:pt x="7926" y="2003"/>
                  <a:pt x="7926" y="2003"/>
                </a:cubicBezTo>
                <a:cubicBezTo>
                  <a:pt x="7926" y="2003"/>
                  <a:pt x="7914" y="2015"/>
                  <a:pt x="7929" y="2014"/>
                </a:cubicBezTo>
                <a:cubicBezTo>
                  <a:pt x="7944" y="2013"/>
                  <a:pt x="7955" y="2008"/>
                  <a:pt x="7955" y="2008"/>
                </a:cubicBezTo>
                <a:cubicBezTo>
                  <a:pt x="7955" y="2008"/>
                  <a:pt x="7951" y="2018"/>
                  <a:pt x="7959" y="2015"/>
                </a:cubicBezTo>
                <a:cubicBezTo>
                  <a:pt x="7967" y="2012"/>
                  <a:pt x="7986" y="1993"/>
                  <a:pt x="7986" y="1993"/>
                </a:cubicBezTo>
                <a:cubicBezTo>
                  <a:pt x="7986" y="1993"/>
                  <a:pt x="8020" y="1981"/>
                  <a:pt x="8031" y="1989"/>
                </a:cubicBezTo>
                <a:cubicBezTo>
                  <a:pt x="8042" y="1997"/>
                  <a:pt x="8076" y="2002"/>
                  <a:pt x="8076" y="2002"/>
                </a:cubicBezTo>
                <a:cubicBezTo>
                  <a:pt x="8076" y="2002"/>
                  <a:pt x="8045" y="2006"/>
                  <a:pt x="8044" y="2009"/>
                </a:cubicBezTo>
                <a:cubicBezTo>
                  <a:pt x="8043" y="2012"/>
                  <a:pt x="8038" y="2021"/>
                  <a:pt x="8038" y="2021"/>
                </a:cubicBezTo>
                <a:cubicBezTo>
                  <a:pt x="8005" y="2022"/>
                  <a:pt x="8005" y="2022"/>
                  <a:pt x="8005" y="2022"/>
                </a:cubicBezTo>
                <a:cubicBezTo>
                  <a:pt x="7971" y="2019"/>
                  <a:pt x="7971" y="2019"/>
                  <a:pt x="7971" y="2019"/>
                </a:cubicBezTo>
                <a:cubicBezTo>
                  <a:pt x="7971" y="2019"/>
                  <a:pt x="7945" y="2025"/>
                  <a:pt x="7941" y="2033"/>
                </a:cubicBezTo>
                <a:cubicBezTo>
                  <a:pt x="7937" y="2041"/>
                  <a:pt x="7928" y="2071"/>
                  <a:pt x="7928" y="2071"/>
                </a:cubicBezTo>
                <a:cubicBezTo>
                  <a:pt x="7955" y="2070"/>
                  <a:pt x="7955" y="2070"/>
                  <a:pt x="7955" y="2070"/>
                </a:cubicBezTo>
                <a:cubicBezTo>
                  <a:pt x="7955" y="2070"/>
                  <a:pt x="7951" y="2079"/>
                  <a:pt x="7956" y="2087"/>
                </a:cubicBezTo>
                <a:cubicBezTo>
                  <a:pt x="7961" y="2095"/>
                  <a:pt x="7967" y="2103"/>
                  <a:pt x="7967" y="2103"/>
                </a:cubicBezTo>
                <a:cubicBezTo>
                  <a:pt x="7962" y="2114"/>
                  <a:pt x="7962" y="2114"/>
                  <a:pt x="7962" y="2114"/>
                </a:cubicBezTo>
                <a:cubicBezTo>
                  <a:pt x="7972" y="2129"/>
                  <a:pt x="7972" y="2129"/>
                  <a:pt x="7972" y="2129"/>
                </a:cubicBezTo>
                <a:cubicBezTo>
                  <a:pt x="7963" y="2140"/>
                  <a:pt x="7963" y="2140"/>
                  <a:pt x="7963" y="2140"/>
                </a:cubicBezTo>
                <a:cubicBezTo>
                  <a:pt x="7987" y="2162"/>
                  <a:pt x="7987" y="2162"/>
                  <a:pt x="7987" y="2162"/>
                </a:cubicBezTo>
                <a:cubicBezTo>
                  <a:pt x="7985" y="2186"/>
                  <a:pt x="7985" y="2186"/>
                  <a:pt x="7985" y="2186"/>
                </a:cubicBezTo>
                <a:cubicBezTo>
                  <a:pt x="8019" y="2203"/>
                  <a:pt x="8019" y="2203"/>
                  <a:pt x="8019" y="2203"/>
                </a:cubicBezTo>
                <a:cubicBezTo>
                  <a:pt x="8025" y="2225"/>
                  <a:pt x="8025" y="2225"/>
                  <a:pt x="8025" y="2225"/>
                </a:cubicBezTo>
                <a:cubicBezTo>
                  <a:pt x="8025" y="2225"/>
                  <a:pt x="8022" y="2213"/>
                  <a:pt x="8041" y="2218"/>
                </a:cubicBezTo>
                <a:cubicBezTo>
                  <a:pt x="8060" y="2223"/>
                  <a:pt x="8057" y="2240"/>
                  <a:pt x="8087" y="2243"/>
                </a:cubicBezTo>
                <a:cubicBezTo>
                  <a:pt x="8117" y="2246"/>
                  <a:pt x="8129" y="2245"/>
                  <a:pt x="8129" y="2238"/>
                </a:cubicBezTo>
                <a:cubicBezTo>
                  <a:pt x="8129" y="2231"/>
                  <a:pt x="8131" y="2212"/>
                  <a:pt x="8141" y="2211"/>
                </a:cubicBezTo>
                <a:cubicBezTo>
                  <a:pt x="8151" y="2210"/>
                  <a:pt x="8178" y="2217"/>
                  <a:pt x="8192" y="2222"/>
                </a:cubicBezTo>
                <a:cubicBezTo>
                  <a:pt x="8206" y="2227"/>
                  <a:pt x="8192" y="2254"/>
                  <a:pt x="8238" y="2253"/>
                </a:cubicBezTo>
                <a:cubicBezTo>
                  <a:pt x="8284" y="2252"/>
                  <a:pt x="8285" y="2227"/>
                  <a:pt x="8301" y="2222"/>
                </a:cubicBezTo>
                <a:cubicBezTo>
                  <a:pt x="8317" y="2217"/>
                  <a:pt x="8329" y="2213"/>
                  <a:pt x="8336" y="2219"/>
                </a:cubicBezTo>
                <a:cubicBezTo>
                  <a:pt x="8343" y="2225"/>
                  <a:pt x="8345" y="2231"/>
                  <a:pt x="8356" y="2226"/>
                </a:cubicBezTo>
                <a:cubicBezTo>
                  <a:pt x="8367" y="2221"/>
                  <a:pt x="8374" y="2205"/>
                  <a:pt x="8381" y="2212"/>
                </a:cubicBezTo>
                <a:cubicBezTo>
                  <a:pt x="8388" y="2219"/>
                  <a:pt x="8380" y="2228"/>
                  <a:pt x="8377" y="2234"/>
                </a:cubicBezTo>
                <a:cubicBezTo>
                  <a:pt x="8374" y="2240"/>
                  <a:pt x="8367" y="2252"/>
                  <a:pt x="8374" y="2257"/>
                </a:cubicBezTo>
                <a:cubicBezTo>
                  <a:pt x="8375" y="2258"/>
                  <a:pt x="8376" y="2259"/>
                  <a:pt x="8375" y="2261"/>
                </a:cubicBezTo>
                <a:cubicBezTo>
                  <a:pt x="8373" y="2266"/>
                  <a:pt x="8363" y="2274"/>
                  <a:pt x="8366" y="2281"/>
                </a:cubicBezTo>
                <a:cubicBezTo>
                  <a:pt x="8362" y="2282"/>
                  <a:pt x="8362" y="2282"/>
                  <a:pt x="8362" y="2282"/>
                </a:cubicBezTo>
                <a:cubicBezTo>
                  <a:pt x="8361" y="2314"/>
                  <a:pt x="8361" y="2314"/>
                  <a:pt x="8361" y="2314"/>
                </a:cubicBezTo>
                <a:cubicBezTo>
                  <a:pt x="8361" y="2314"/>
                  <a:pt x="8375" y="2322"/>
                  <a:pt x="8378" y="2330"/>
                </a:cubicBezTo>
                <a:cubicBezTo>
                  <a:pt x="8378" y="2332"/>
                  <a:pt x="8378" y="2334"/>
                  <a:pt x="8377" y="2335"/>
                </a:cubicBezTo>
                <a:cubicBezTo>
                  <a:pt x="8370" y="2345"/>
                  <a:pt x="8361" y="2351"/>
                  <a:pt x="8361" y="2351"/>
                </a:cubicBezTo>
                <a:cubicBezTo>
                  <a:pt x="8352" y="2375"/>
                  <a:pt x="8352" y="2375"/>
                  <a:pt x="8352" y="2375"/>
                </a:cubicBezTo>
                <a:cubicBezTo>
                  <a:pt x="8352" y="2375"/>
                  <a:pt x="8342" y="2399"/>
                  <a:pt x="8341" y="2419"/>
                </a:cubicBezTo>
                <a:cubicBezTo>
                  <a:pt x="8341" y="2424"/>
                  <a:pt x="8341" y="2430"/>
                  <a:pt x="8342" y="2435"/>
                </a:cubicBezTo>
                <a:cubicBezTo>
                  <a:pt x="8343" y="2448"/>
                  <a:pt x="8347" y="2459"/>
                  <a:pt x="8347" y="2459"/>
                </a:cubicBezTo>
                <a:cubicBezTo>
                  <a:pt x="8333" y="2485"/>
                  <a:pt x="8333" y="2485"/>
                  <a:pt x="8333" y="2485"/>
                </a:cubicBezTo>
                <a:cubicBezTo>
                  <a:pt x="8331" y="2501"/>
                  <a:pt x="8331" y="2501"/>
                  <a:pt x="8331" y="2501"/>
                </a:cubicBezTo>
                <a:cubicBezTo>
                  <a:pt x="8320" y="2509"/>
                  <a:pt x="8320" y="2509"/>
                  <a:pt x="8320" y="2509"/>
                </a:cubicBezTo>
                <a:cubicBezTo>
                  <a:pt x="8320" y="2509"/>
                  <a:pt x="8282" y="2524"/>
                  <a:pt x="8273" y="2520"/>
                </a:cubicBezTo>
                <a:cubicBezTo>
                  <a:pt x="8264" y="2516"/>
                  <a:pt x="8258" y="2512"/>
                  <a:pt x="8258" y="2512"/>
                </a:cubicBezTo>
                <a:cubicBezTo>
                  <a:pt x="8258" y="2512"/>
                  <a:pt x="8249" y="2523"/>
                  <a:pt x="8235" y="2516"/>
                </a:cubicBezTo>
                <a:cubicBezTo>
                  <a:pt x="8221" y="2509"/>
                  <a:pt x="8226" y="2500"/>
                  <a:pt x="8210" y="2497"/>
                </a:cubicBezTo>
                <a:cubicBezTo>
                  <a:pt x="8194" y="2494"/>
                  <a:pt x="8173" y="2504"/>
                  <a:pt x="8173" y="2504"/>
                </a:cubicBezTo>
                <a:cubicBezTo>
                  <a:pt x="8173" y="2504"/>
                  <a:pt x="8158" y="2497"/>
                  <a:pt x="8147" y="2501"/>
                </a:cubicBezTo>
                <a:cubicBezTo>
                  <a:pt x="8136" y="2505"/>
                  <a:pt x="8128" y="2520"/>
                  <a:pt x="8128" y="2520"/>
                </a:cubicBezTo>
                <a:cubicBezTo>
                  <a:pt x="8128" y="2520"/>
                  <a:pt x="8116" y="2518"/>
                  <a:pt x="8112" y="2520"/>
                </a:cubicBezTo>
                <a:cubicBezTo>
                  <a:pt x="8108" y="2522"/>
                  <a:pt x="8095" y="2533"/>
                  <a:pt x="8095" y="2533"/>
                </a:cubicBezTo>
                <a:cubicBezTo>
                  <a:pt x="8095" y="2533"/>
                  <a:pt x="8061" y="2519"/>
                  <a:pt x="8055" y="2519"/>
                </a:cubicBezTo>
                <a:cubicBezTo>
                  <a:pt x="8049" y="2519"/>
                  <a:pt x="8038" y="2522"/>
                  <a:pt x="8025" y="2519"/>
                </a:cubicBezTo>
                <a:cubicBezTo>
                  <a:pt x="8012" y="2516"/>
                  <a:pt x="8010" y="2504"/>
                  <a:pt x="7997" y="2503"/>
                </a:cubicBezTo>
                <a:cubicBezTo>
                  <a:pt x="7984" y="2502"/>
                  <a:pt x="7974" y="2502"/>
                  <a:pt x="7974" y="2502"/>
                </a:cubicBezTo>
                <a:cubicBezTo>
                  <a:pt x="7974" y="2502"/>
                  <a:pt x="7954" y="2491"/>
                  <a:pt x="7945" y="2491"/>
                </a:cubicBezTo>
                <a:cubicBezTo>
                  <a:pt x="7936" y="2491"/>
                  <a:pt x="7931" y="2505"/>
                  <a:pt x="7916" y="2496"/>
                </a:cubicBezTo>
                <a:cubicBezTo>
                  <a:pt x="7913" y="2494"/>
                  <a:pt x="7911" y="2492"/>
                  <a:pt x="7909" y="2490"/>
                </a:cubicBezTo>
                <a:cubicBezTo>
                  <a:pt x="7903" y="2481"/>
                  <a:pt x="7905" y="2472"/>
                  <a:pt x="7905" y="2472"/>
                </a:cubicBezTo>
                <a:cubicBezTo>
                  <a:pt x="7890" y="2477"/>
                  <a:pt x="7890" y="2477"/>
                  <a:pt x="7890" y="2477"/>
                </a:cubicBezTo>
                <a:cubicBezTo>
                  <a:pt x="7883" y="2468"/>
                  <a:pt x="7883" y="2468"/>
                  <a:pt x="7883" y="2468"/>
                </a:cubicBezTo>
                <a:cubicBezTo>
                  <a:pt x="7883" y="2468"/>
                  <a:pt x="7878" y="2476"/>
                  <a:pt x="7871" y="2476"/>
                </a:cubicBezTo>
                <a:cubicBezTo>
                  <a:pt x="7864" y="2476"/>
                  <a:pt x="7856" y="2459"/>
                  <a:pt x="7847" y="2459"/>
                </a:cubicBezTo>
                <a:cubicBezTo>
                  <a:pt x="7838" y="2459"/>
                  <a:pt x="7828" y="2466"/>
                  <a:pt x="7817" y="2458"/>
                </a:cubicBezTo>
                <a:cubicBezTo>
                  <a:pt x="7806" y="2450"/>
                  <a:pt x="7815" y="2441"/>
                  <a:pt x="7806" y="2437"/>
                </a:cubicBezTo>
                <a:cubicBezTo>
                  <a:pt x="7797" y="2433"/>
                  <a:pt x="7779" y="2432"/>
                  <a:pt x="7779" y="2432"/>
                </a:cubicBezTo>
                <a:cubicBezTo>
                  <a:pt x="7779" y="2432"/>
                  <a:pt x="7758" y="2424"/>
                  <a:pt x="7750" y="2424"/>
                </a:cubicBezTo>
                <a:cubicBezTo>
                  <a:pt x="7742" y="2424"/>
                  <a:pt x="7742" y="2432"/>
                  <a:pt x="7742" y="2432"/>
                </a:cubicBezTo>
                <a:cubicBezTo>
                  <a:pt x="7742" y="2432"/>
                  <a:pt x="7712" y="2430"/>
                  <a:pt x="7699" y="2440"/>
                </a:cubicBezTo>
                <a:cubicBezTo>
                  <a:pt x="7686" y="2450"/>
                  <a:pt x="7669" y="2463"/>
                  <a:pt x="7669" y="2479"/>
                </a:cubicBezTo>
                <a:cubicBezTo>
                  <a:pt x="7669" y="2495"/>
                  <a:pt x="7685" y="2514"/>
                  <a:pt x="7685" y="2523"/>
                </a:cubicBezTo>
                <a:cubicBezTo>
                  <a:pt x="7685" y="2532"/>
                  <a:pt x="7664" y="2561"/>
                  <a:pt x="7652" y="2563"/>
                </a:cubicBezTo>
                <a:cubicBezTo>
                  <a:pt x="7640" y="2565"/>
                  <a:pt x="7622" y="2568"/>
                  <a:pt x="7608" y="2553"/>
                </a:cubicBezTo>
                <a:cubicBezTo>
                  <a:pt x="7594" y="2538"/>
                  <a:pt x="7555" y="2515"/>
                  <a:pt x="7540" y="2514"/>
                </a:cubicBezTo>
                <a:cubicBezTo>
                  <a:pt x="7525" y="2513"/>
                  <a:pt x="7491" y="2522"/>
                  <a:pt x="7478" y="2506"/>
                </a:cubicBezTo>
                <a:cubicBezTo>
                  <a:pt x="7465" y="2490"/>
                  <a:pt x="7469" y="2478"/>
                  <a:pt x="7460" y="2462"/>
                </a:cubicBezTo>
                <a:cubicBezTo>
                  <a:pt x="7451" y="2446"/>
                  <a:pt x="7433" y="2449"/>
                  <a:pt x="7433" y="2449"/>
                </a:cubicBezTo>
                <a:cubicBezTo>
                  <a:pt x="7433" y="2449"/>
                  <a:pt x="7409" y="2431"/>
                  <a:pt x="7401" y="2430"/>
                </a:cubicBezTo>
                <a:cubicBezTo>
                  <a:pt x="7393" y="2429"/>
                  <a:pt x="7369" y="2428"/>
                  <a:pt x="7362" y="2429"/>
                </a:cubicBezTo>
                <a:cubicBezTo>
                  <a:pt x="7355" y="2430"/>
                  <a:pt x="7343" y="2437"/>
                  <a:pt x="7332" y="2433"/>
                </a:cubicBezTo>
                <a:cubicBezTo>
                  <a:pt x="7321" y="2429"/>
                  <a:pt x="7301" y="2413"/>
                  <a:pt x="7296" y="2412"/>
                </a:cubicBezTo>
                <a:cubicBezTo>
                  <a:pt x="7293" y="2411"/>
                  <a:pt x="7289" y="2410"/>
                  <a:pt x="7285" y="2409"/>
                </a:cubicBezTo>
                <a:cubicBezTo>
                  <a:pt x="7280" y="2408"/>
                  <a:pt x="7277" y="2407"/>
                  <a:pt x="7277" y="2407"/>
                </a:cubicBezTo>
                <a:cubicBezTo>
                  <a:pt x="7270" y="2388"/>
                  <a:pt x="7270" y="2388"/>
                  <a:pt x="7270" y="2388"/>
                </a:cubicBezTo>
                <a:cubicBezTo>
                  <a:pt x="7260" y="2382"/>
                  <a:pt x="7260" y="2382"/>
                  <a:pt x="7260" y="2382"/>
                </a:cubicBezTo>
                <a:cubicBezTo>
                  <a:pt x="7258" y="2393"/>
                  <a:pt x="7258" y="2393"/>
                  <a:pt x="7258" y="2393"/>
                </a:cubicBezTo>
                <a:cubicBezTo>
                  <a:pt x="7252" y="2384"/>
                  <a:pt x="7252" y="2384"/>
                  <a:pt x="7252" y="2384"/>
                </a:cubicBezTo>
                <a:cubicBezTo>
                  <a:pt x="7252" y="2384"/>
                  <a:pt x="7221" y="2383"/>
                  <a:pt x="7221" y="2364"/>
                </a:cubicBezTo>
                <a:cubicBezTo>
                  <a:pt x="7221" y="2345"/>
                  <a:pt x="7219" y="2355"/>
                  <a:pt x="7242" y="2335"/>
                </a:cubicBezTo>
                <a:cubicBezTo>
                  <a:pt x="7265" y="2315"/>
                  <a:pt x="7279" y="2299"/>
                  <a:pt x="7266" y="2283"/>
                </a:cubicBezTo>
                <a:cubicBezTo>
                  <a:pt x="7253" y="2267"/>
                  <a:pt x="7238" y="2270"/>
                  <a:pt x="7242" y="2254"/>
                </a:cubicBezTo>
                <a:cubicBezTo>
                  <a:pt x="7246" y="2238"/>
                  <a:pt x="7245" y="2240"/>
                  <a:pt x="7255" y="2231"/>
                </a:cubicBezTo>
                <a:cubicBezTo>
                  <a:pt x="7265" y="2222"/>
                  <a:pt x="7273" y="2200"/>
                  <a:pt x="7266" y="2199"/>
                </a:cubicBezTo>
                <a:cubicBezTo>
                  <a:pt x="7259" y="2198"/>
                  <a:pt x="7240" y="2224"/>
                  <a:pt x="7235" y="2226"/>
                </a:cubicBezTo>
                <a:cubicBezTo>
                  <a:pt x="7230" y="2228"/>
                  <a:pt x="7218" y="2214"/>
                  <a:pt x="7218" y="2214"/>
                </a:cubicBezTo>
                <a:cubicBezTo>
                  <a:pt x="7218" y="2214"/>
                  <a:pt x="7237" y="2197"/>
                  <a:pt x="7220" y="2189"/>
                </a:cubicBezTo>
                <a:cubicBezTo>
                  <a:pt x="7203" y="2181"/>
                  <a:pt x="7176" y="2200"/>
                  <a:pt x="7170" y="2204"/>
                </a:cubicBezTo>
                <a:cubicBezTo>
                  <a:pt x="7168" y="2205"/>
                  <a:pt x="7166" y="2206"/>
                  <a:pt x="7163" y="2206"/>
                </a:cubicBezTo>
                <a:cubicBezTo>
                  <a:pt x="7163" y="2216"/>
                  <a:pt x="7163" y="2216"/>
                  <a:pt x="7163" y="2216"/>
                </a:cubicBezTo>
                <a:cubicBezTo>
                  <a:pt x="7163" y="2206"/>
                  <a:pt x="7163" y="2206"/>
                  <a:pt x="7163" y="2206"/>
                </a:cubicBezTo>
                <a:cubicBezTo>
                  <a:pt x="7154" y="2206"/>
                  <a:pt x="7143" y="2205"/>
                  <a:pt x="7143" y="2205"/>
                </a:cubicBezTo>
                <a:cubicBezTo>
                  <a:pt x="7134" y="2210"/>
                  <a:pt x="7134" y="2210"/>
                  <a:pt x="7134" y="2210"/>
                </a:cubicBezTo>
                <a:cubicBezTo>
                  <a:pt x="7107" y="2198"/>
                  <a:pt x="7107" y="2198"/>
                  <a:pt x="7107" y="2198"/>
                </a:cubicBezTo>
                <a:cubicBezTo>
                  <a:pt x="7097" y="2200"/>
                  <a:pt x="7097" y="2200"/>
                  <a:pt x="7097" y="2200"/>
                </a:cubicBezTo>
                <a:cubicBezTo>
                  <a:pt x="7097" y="2209"/>
                  <a:pt x="7097" y="2209"/>
                  <a:pt x="7097" y="2209"/>
                </a:cubicBezTo>
                <a:cubicBezTo>
                  <a:pt x="7072" y="2207"/>
                  <a:pt x="7072" y="2207"/>
                  <a:pt x="7072" y="2207"/>
                </a:cubicBezTo>
                <a:cubicBezTo>
                  <a:pt x="7056" y="2195"/>
                  <a:pt x="7056" y="2195"/>
                  <a:pt x="7056" y="2195"/>
                </a:cubicBezTo>
                <a:cubicBezTo>
                  <a:pt x="7052" y="2214"/>
                  <a:pt x="7052" y="2214"/>
                  <a:pt x="7052" y="2214"/>
                </a:cubicBezTo>
                <a:cubicBezTo>
                  <a:pt x="7032" y="2209"/>
                  <a:pt x="7032" y="2209"/>
                  <a:pt x="7032" y="2209"/>
                </a:cubicBezTo>
                <a:cubicBezTo>
                  <a:pt x="7014" y="2224"/>
                  <a:pt x="7014" y="2224"/>
                  <a:pt x="7014" y="2224"/>
                </a:cubicBezTo>
                <a:cubicBezTo>
                  <a:pt x="7014" y="2224"/>
                  <a:pt x="6990" y="2212"/>
                  <a:pt x="6959" y="2213"/>
                </a:cubicBezTo>
                <a:cubicBezTo>
                  <a:pt x="6928" y="2214"/>
                  <a:pt x="6927" y="2221"/>
                  <a:pt x="6913" y="2222"/>
                </a:cubicBezTo>
                <a:cubicBezTo>
                  <a:pt x="6899" y="2223"/>
                  <a:pt x="6873" y="2222"/>
                  <a:pt x="6873" y="2222"/>
                </a:cubicBezTo>
                <a:cubicBezTo>
                  <a:pt x="6870" y="2229"/>
                  <a:pt x="6870" y="2229"/>
                  <a:pt x="6870" y="2229"/>
                </a:cubicBezTo>
                <a:cubicBezTo>
                  <a:pt x="6831" y="2228"/>
                  <a:pt x="6831" y="2228"/>
                  <a:pt x="6831" y="2228"/>
                </a:cubicBezTo>
                <a:cubicBezTo>
                  <a:pt x="6831" y="2228"/>
                  <a:pt x="6784" y="2238"/>
                  <a:pt x="6783" y="2246"/>
                </a:cubicBezTo>
                <a:cubicBezTo>
                  <a:pt x="6782" y="2254"/>
                  <a:pt x="6774" y="2267"/>
                  <a:pt x="6774" y="2267"/>
                </a:cubicBezTo>
                <a:cubicBezTo>
                  <a:pt x="6774" y="2267"/>
                  <a:pt x="6724" y="2269"/>
                  <a:pt x="6722" y="2278"/>
                </a:cubicBezTo>
                <a:cubicBezTo>
                  <a:pt x="6720" y="2287"/>
                  <a:pt x="6698" y="2308"/>
                  <a:pt x="6683" y="2308"/>
                </a:cubicBezTo>
                <a:cubicBezTo>
                  <a:pt x="6681" y="2308"/>
                  <a:pt x="6679" y="2308"/>
                  <a:pt x="6677" y="2307"/>
                </a:cubicBezTo>
                <a:cubicBezTo>
                  <a:pt x="6677" y="2307"/>
                  <a:pt x="6677" y="2307"/>
                  <a:pt x="6677" y="2307"/>
                </a:cubicBezTo>
                <a:cubicBezTo>
                  <a:pt x="6664" y="2304"/>
                  <a:pt x="6652" y="2294"/>
                  <a:pt x="6643" y="2294"/>
                </a:cubicBezTo>
                <a:cubicBezTo>
                  <a:pt x="6633" y="2294"/>
                  <a:pt x="6626" y="2302"/>
                  <a:pt x="6626" y="2302"/>
                </a:cubicBezTo>
                <a:cubicBezTo>
                  <a:pt x="6626" y="2302"/>
                  <a:pt x="6603" y="2297"/>
                  <a:pt x="6595" y="2297"/>
                </a:cubicBezTo>
                <a:cubicBezTo>
                  <a:pt x="6587" y="2297"/>
                  <a:pt x="6579" y="2306"/>
                  <a:pt x="6564" y="2301"/>
                </a:cubicBezTo>
                <a:cubicBezTo>
                  <a:pt x="6549" y="2296"/>
                  <a:pt x="6534" y="2272"/>
                  <a:pt x="6530" y="2270"/>
                </a:cubicBezTo>
                <a:cubicBezTo>
                  <a:pt x="6526" y="2268"/>
                  <a:pt x="6510" y="2268"/>
                  <a:pt x="6510" y="2268"/>
                </a:cubicBezTo>
                <a:cubicBezTo>
                  <a:pt x="6510" y="2268"/>
                  <a:pt x="6499" y="2303"/>
                  <a:pt x="6493" y="2316"/>
                </a:cubicBezTo>
                <a:cubicBezTo>
                  <a:pt x="6487" y="2329"/>
                  <a:pt x="6468" y="2366"/>
                  <a:pt x="6456" y="2375"/>
                </a:cubicBezTo>
                <a:cubicBezTo>
                  <a:pt x="6444" y="2384"/>
                  <a:pt x="6428" y="2380"/>
                  <a:pt x="6423" y="2384"/>
                </a:cubicBezTo>
                <a:cubicBezTo>
                  <a:pt x="6418" y="2388"/>
                  <a:pt x="6407" y="2399"/>
                  <a:pt x="6407" y="2399"/>
                </a:cubicBezTo>
                <a:cubicBezTo>
                  <a:pt x="6395" y="2396"/>
                  <a:pt x="6395" y="2396"/>
                  <a:pt x="6395" y="2396"/>
                </a:cubicBezTo>
                <a:cubicBezTo>
                  <a:pt x="6378" y="2405"/>
                  <a:pt x="6378" y="2405"/>
                  <a:pt x="6378" y="2405"/>
                </a:cubicBezTo>
                <a:cubicBezTo>
                  <a:pt x="6378" y="2405"/>
                  <a:pt x="6373" y="2418"/>
                  <a:pt x="6367" y="2426"/>
                </a:cubicBezTo>
                <a:cubicBezTo>
                  <a:pt x="6367" y="2426"/>
                  <a:pt x="6347" y="2438"/>
                  <a:pt x="6347" y="2442"/>
                </a:cubicBezTo>
                <a:cubicBezTo>
                  <a:pt x="6347" y="2446"/>
                  <a:pt x="6351" y="2460"/>
                  <a:pt x="6344" y="2467"/>
                </a:cubicBezTo>
                <a:cubicBezTo>
                  <a:pt x="6337" y="2474"/>
                  <a:pt x="6320" y="2498"/>
                  <a:pt x="6321" y="2512"/>
                </a:cubicBezTo>
                <a:cubicBezTo>
                  <a:pt x="6322" y="2526"/>
                  <a:pt x="6322" y="2537"/>
                  <a:pt x="6322" y="2537"/>
                </a:cubicBezTo>
                <a:cubicBezTo>
                  <a:pt x="6322" y="2537"/>
                  <a:pt x="6314" y="2541"/>
                  <a:pt x="6314" y="2544"/>
                </a:cubicBezTo>
                <a:cubicBezTo>
                  <a:pt x="6314" y="2547"/>
                  <a:pt x="6329" y="2545"/>
                  <a:pt x="6326" y="2560"/>
                </a:cubicBezTo>
                <a:cubicBezTo>
                  <a:pt x="6323" y="2575"/>
                  <a:pt x="6325" y="2584"/>
                  <a:pt x="6325" y="2584"/>
                </a:cubicBezTo>
                <a:cubicBezTo>
                  <a:pt x="6325" y="2584"/>
                  <a:pt x="6319" y="2578"/>
                  <a:pt x="6310" y="2589"/>
                </a:cubicBezTo>
                <a:cubicBezTo>
                  <a:pt x="6301" y="2600"/>
                  <a:pt x="6294" y="2616"/>
                  <a:pt x="6286" y="2627"/>
                </a:cubicBezTo>
                <a:cubicBezTo>
                  <a:pt x="6278" y="2638"/>
                  <a:pt x="6264" y="2634"/>
                  <a:pt x="6257" y="2644"/>
                </a:cubicBezTo>
                <a:cubicBezTo>
                  <a:pt x="6250" y="2654"/>
                  <a:pt x="6242" y="2666"/>
                  <a:pt x="6236" y="2672"/>
                </a:cubicBezTo>
                <a:cubicBezTo>
                  <a:pt x="6230" y="2678"/>
                  <a:pt x="6192" y="2688"/>
                  <a:pt x="6188" y="2689"/>
                </a:cubicBezTo>
                <a:cubicBezTo>
                  <a:pt x="6184" y="2690"/>
                  <a:pt x="6165" y="2691"/>
                  <a:pt x="6165" y="2691"/>
                </a:cubicBezTo>
                <a:cubicBezTo>
                  <a:pt x="6165" y="2691"/>
                  <a:pt x="6160" y="2697"/>
                  <a:pt x="6156" y="2706"/>
                </a:cubicBezTo>
                <a:cubicBezTo>
                  <a:pt x="6154" y="2709"/>
                  <a:pt x="6152" y="2714"/>
                  <a:pt x="6150" y="2718"/>
                </a:cubicBezTo>
                <a:cubicBezTo>
                  <a:pt x="6145" y="2731"/>
                  <a:pt x="6140" y="2753"/>
                  <a:pt x="6140" y="2753"/>
                </a:cubicBezTo>
                <a:cubicBezTo>
                  <a:pt x="6140" y="2753"/>
                  <a:pt x="6128" y="2763"/>
                  <a:pt x="6124" y="2767"/>
                </a:cubicBezTo>
                <a:cubicBezTo>
                  <a:pt x="6120" y="2771"/>
                  <a:pt x="6104" y="2772"/>
                  <a:pt x="6104" y="2772"/>
                </a:cubicBezTo>
                <a:cubicBezTo>
                  <a:pt x="6104" y="2772"/>
                  <a:pt x="6093" y="2769"/>
                  <a:pt x="6089" y="2778"/>
                </a:cubicBezTo>
                <a:cubicBezTo>
                  <a:pt x="6085" y="2787"/>
                  <a:pt x="6087" y="2803"/>
                  <a:pt x="6087" y="2803"/>
                </a:cubicBezTo>
                <a:cubicBezTo>
                  <a:pt x="6087" y="2803"/>
                  <a:pt x="6068" y="2822"/>
                  <a:pt x="6068" y="2828"/>
                </a:cubicBezTo>
                <a:cubicBezTo>
                  <a:pt x="6068" y="2834"/>
                  <a:pt x="6079" y="2851"/>
                  <a:pt x="6072" y="2864"/>
                </a:cubicBezTo>
                <a:cubicBezTo>
                  <a:pt x="6065" y="2877"/>
                  <a:pt x="6056" y="2877"/>
                  <a:pt x="6056" y="2877"/>
                </a:cubicBezTo>
                <a:cubicBezTo>
                  <a:pt x="6056" y="2877"/>
                  <a:pt x="6047" y="2891"/>
                  <a:pt x="6042" y="2896"/>
                </a:cubicBezTo>
                <a:cubicBezTo>
                  <a:pt x="6037" y="2901"/>
                  <a:pt x="6026" y="2903"/>
                  <a:pt x="6022" y="2907"/>
                </a:cubicBezTo>
                <a:cubicBezTo>
                  <a:pt x="6018" y="2911"/>
                  <a:pt x="6016" y="2918"/>
                  <a:pt x="6016" y="2918"/>
                </a:cubicBezTo>
                <a:cubicBezTo>
                  <a:pt x="6024" y="2922"/>
                  <a:pt x="6024" y="2922"/>
                  <a:pt x="6024" y="2922"/>
                </a:cubicBezTo>
                <a:cubicBezTo>
                  <a:pt x="6024" y="2922"/>
                  <a:pt x="6013" y="2933"/>
                  <a:pt x="6009" y="2943"/>
                </a:cubicBezTo>
                <a:cubicBezTo>
                  <a:pt x="6005" y="2953"/>
                  <a:pt x="6005" y="2965"/>
                  <a:pt x="6005" y="2965"/>
                </a:cubicBezTo>
                <a:cubicBezTo>
                  <a:pt x="5996" y="2965"/>
                  <a:pt x="5996" y="2965"/>
                  <a:pt x="5996" y="2965"/>
                </a:cubicBezTo>
                <a:cubicBezTo>
                  <a:pt x="5996" y="2965"/>
                  <a:pt x="6006" y="2977"/>
                  <a:pt x="5995" y="2987"/>
                </a:cubicBezTo>
                <a:cubicBezTo>
                  <a:pt x="5984" y="2997"/>
                  <a:pt x="5982" y="2992"/>
                  <a:pt x="5982" y="2992"/>
                </a:cubicBezTo>
                <a:cubicBezTo>
                  <a:pt x="5982" y="2992"/>
                  <a:pt x="5965" y="3010"/>
                  <a:pt x="5965" y="3024"/>
                </a:cubicBezTo>
                <a:cubicBezTo>
                  <a:pt x="5965" y="3031"/>
                  <a:pt x="5965" y="3041"/>
                  <a:pt x="5964" y="3049"/>
                </a:cubicBezTo>
                <a:cubicBezTo>
                  <a:pt x="5964" y="3049"/>
                  <a:pt x="5964" y="3049"/>
                  <a:pt x="5964" y="3049"/>
                </a:cubicBezTo>
                <a:cubicBezTo>
                  <a:pt x="5964" y="3056"/>
                  <a:pt x="5964" y="3062"/>
                  <a:pt x="5964" y="3062"/>
                </a:cubicBezTo>
                <a:cubicBezTo>
                  <a:pt x="5964" y="3062"/>
                  <a:pt x="5975" y="3061"/>
                  <a:pt x="5975" y="3066"/>
                </a:cubicBezTo>
                <a:cubicBezTo>
                  <a:pt x="5975" y="3071"/>
                  <a:pt x="5975" y="3084"/>
                  <a:pt x="5979" y="3087"/>
                </a:cubicBezTo>
                <a:cubicBezTo>
                  <a:pt x="5983" y="3090"/>
                  <a:pt x="5988" y="3079"/>
                  <a:pt x="5988" y="3079"/>
                </a:cubicBezTo>
                <a:cubicBezTo>
                  <a:pt x="5996" y="3102"/>
                  <a:pt x="5996" y="3102"/>
                  <a:pt x="5996" y="3102"/>
                </a:cubicBezTo>
                <a:cubicBezTo>
                  <a:pt x="5994" y="3133"/>
                  <a:pt x="5994" y="3133"/>
                  <a:pt x="5994" y="3133"/>
                </a:cubicBezTo>
                <a:cubicBezTo>
                  <a:pt x="5985" y="3133"/>
                  <a:pt x="5985" y="3133"/>
                  <a:pt x="5985" y="3133"/>
                </a:cubicBezTo>
                <a:cubicBezTo>
                  <a:pt x="5988" y="3147"/>
                  <a:pt x="5988" y="3147"/>
                  <a:pt x="5988" y="3147"/>
                </a:cubicBezTo>
                <a:cubicBezTo>
                  <a:pt x="5980" y="3153"/>
                  <a:pt x="5980" y="3153"/>
                  <a:pt x="5980" y="3153"/>
                </a:cubicBezTo>
                <a:cubicBezTo>
                  <a:pt x="5980" y="3153"/>
                  <a:pt x="6003" y="3182"/>
                  <a:pt x="6003" y="3200"/>
                </a:cubicBezTo>
                <a:cubicBezTo>
                  <a:pt x="6003" y="3218"/>
                  <a:pt x="5997" y="3239"/>
                  <a:pt x="5997" y="3239"/>
                </a:cubicBezTo>
                <a:cubicBezTo>
                  <a:pt x="5995" y="3268"/>
                  <a:pt x="5995" y="3268"/>
                  <a:pt x="5995" y="3268"/>
                </a:cubicBezTo>
                <a:cubicBezTo>
                  <a:pt x="5995" y="3268"/>
                  <a:pt x="5979" y="3285"/>
                  <a:pt x="5976" y="3300"/>
                </a:cubicBezTo>
                <a:cubicBezTo>
                  <a:pt x="5974" y="3309"/>
                  <a:pt x="5974" y="3324"/>
                  <a:pt x="5974" y="3335"/>
                </a:cubicBezTo>
                <a:cubicBezTo>
                  <a:pt x="5973" y="3342"/>
                  <a:pt x="5973" y="3348"/>
                  <a:pt x="5973" y="3349"/>
                </a:cubicBezTo>
                <a:cubicBezTo>
                  <a:pt x="5972" y="3352"/>
                  <a:pt x="5962" y="3359"/>
                  <a:pt x="5955" y="3372"/>
                </a:cubicBezTo>
                <a:cubicBezTo>
                  <a:pt x="5948" y="3385"/>
                  <a:pt x="5933" y="3398"/>
                  <a:pt x="5933" y="3398"/>
                </a:cubicBezTo>
                <a:cubicBezTo>
                  <a:pt x="5935" y="3405"/>
                  <a:pt x="5935" y="3405"/>
                  <a:pt x="5935" y="3405"/>
                </a:cubicBezTo>
                <a:cubicBezTo>
                  <a:pt x="5941" y="3404"/>
                  <a:pt x="5941" y="3404"/>
                  <a:pt x="5941" y="3404"/>
                </a:cubicBezTo>
                <a:cubicBezTo>
                  <a:pt x="5941" y="3404"/>
                  <a:pt x="5950" y="3413"/>
                  <a:pt x="5950" y="3420"/>
                </a:cubicBezTo>
                <a:cubicBezTo>
                  <a:pt x="5950" y="3427"/>
                  <a:pt x="5953" y="3433"/>
                  <a:pt x="5953" y="3433"/>
                </a:cubicBezTo>
                <a:cubicBezTo>
                  <a:pt x="5962" y="3441"/>
                  <a:pt x="5962" y="3441"/>
                  <a:pt x="5962" y="3441"/>
                </a:cubicBezTo>
                <a:cubicBezTo>
                  <a:pt x="5962" y="3441"/>
                  <a:pt x="5961" y="3442"/>
                  <a:pt x="5961" y="3449"/>
                </a:cubicBezTo>
                <a:cubicBezTo>
                  <a:pt x="5961" y="3454"/>
                  <a:pt x="5965" y="3458"/>
                  <a:pt x="5967" y="3461"/>
                </a:cubicBezTo>
                <a:cubicBezTo>
                  <a:pt x="5968" y="3462"/>
                  <a:pt x="5969" y="3463"/>
                  <a:pt x="5969" y="3463"/>
                </a:cubicBezTo>
                <a:cubicBezTo>
                  <a:pt x="5969" y="3463"/>
                  <a:pt x="5959" y="3478"/>
                  <a:pt x="5958" y="3485"/>
                </a:cubicBezTo>
                <a:cubicBezTo>
                  <a:pt x="5958" y="3486"/>
                  <a:pt x="5958" y="3486"/>
                  <a:pt x="5958" y="3487"/>
                </a:cubicBezTo>
                <a:cubicBezTo>
                  <a:pt x="5957" y="3494"/>
                  <a:pt x="5957" y="3504"/>
                  <a:pt x="5957" y="3504"/>
                </a:cubicBezTo>
                <a:cubicBezTo>
                  <a:pt x="5951" y="3507"/>
                  <a:pt x="5951" y="3507"/>
                  <a:pt x="5951" y="3507"/>
                </a:cubicBezTo>
                <a:cubicBezTo>
                  <a:pt x="5951" y="3507"/>
                  <a:pt x="5955" y="3528"/>
                  <a:pt x="5964" y="3533"/>
                </a:cubicBezTo>
                <a:cubicBezTo>
                  <a:pt x="5973" y="3538"/>
                  <a:pt x="5983" y="3533"/>
                  <a:pt x="5983" y="3533"/>
                </a:cubicBezTo>
                <a:cubicBezTo>
                  <a:pt x="5979" y="3556"/>
                  <a:pt x="5979" y="3556"/>
                  <a:pt x="5979" y="3556"/>
                </a:cubicBezTo>
                <a:cubicBezTo>
                  <a:pt x="5979" y="3556"/>
                  <a:pt x="5987" y="3564"/>
                  <a:pt x="5994" y="3558"/>
                </a:cubicBezTo>
                <a:cubicBezTo>
                  <a:pt x="6001" y="3552"/>
                  <a:pt x="6025" y="3553"/>
                  <a:pt x="6025" y="3553"/>
                </a:cubicBezTo>
                <a:cubicBezTo>
                  <a:pt x="6042" y="3547"/>
                  <a:pt x="6042" y="3547"/>
                  <a:pt x="6042" y="3547"/>
                </a:cubicBezTo>
                <a:cubicBezTo>
                  <a:pt x="6042" y="3562"/>
                  <a:pt x="6042" y="3562"/>
                  <a:pt x="6042" y="3562"/>
                </a:cubicBezTo>
                <a:cubicBezTo>
                  <a:pt x="6042" y="3562"/>
                  <a:pt x="6018" y="3550"/>
                  <a:pt x="6016" y="3560"/>
                </a:cubicBezTo>
                <a:cubicBezTo>
                  <a:pt x="6014" y="3570"/>
                  <a:pt x="6021" y="3576"/>
                  <a:pt x="6021" y="3576"/>
                </a:cubicBezTo>
                <a:cubicBezTo>
                  <a:pt x="6042" y="3571"/>
                  <a:pt x="6042" y="3571"/>
                  <a:pt x="6042" y="3571"/>
                </a:cubicBezTo>
                <a:cubicBezTo>
                  <a:pt x="6018" y="3583"/>
                  <a:pt x="6018" y="3583"/>
                  <a:pt x="6018" y="3583"/>
                </a:cubicBezTo>
                <a:cubicBezTo>
                  <a:pt x="6037" y="3611"/>
                  <a:pt x="6037" y="3611"/>
                  <a:pt x="6037" y="3611"/>
                </a:cubicBezTo>
                <a:cubicBezTo>
                  <a:pt x="6042" y="3596"/>
                  <a:pt x="6042" y="3596"/>
                  <a:pt x="6042" y="3596"/>
                </a:cubicBezTo>
                <a:cubicBezTo>
                  <a:pt x="6042" y="3596"/>
                  <a:pt x="6046" y="3610"/>
                  <a:pt x="6051" y="3612"/>
                </a:cubicBezTo>
                <a:cubicBezTo>
                  <a:pt x="6056" y="3614"/>
                  <a:pt x="6061" y="3613"/>
                  <a:pt x="6061" y="3613"/>
                </a:cubicBezTo>
                <a:cubicBezTo>
                  <a:pt x="6061" y="3613"/>
                  <a:pt x="6052" y="3637"/>
                  <a:pt x="6067" y="3644"/>
                </a:cubicBezTo>
                <a:cubicBezTo>
                  <a:pt x="6082" y="3651"/>
                  <a:pt x="6087" y="3648"/>
                  <a:pt x="6087" y="3648"/>
                </a:cubicBezTo>
                <a:cubicBezTo>
                  <a:pt x="6087" y="3648"/>
                  <a:pt x="6084" y="3660"/>
                  <a:pt x="6088" y="3664"/>
                </a:cubicBezTo>
                <a:cubicBezTo>
                  <a:pt x="6092" y="3668"/>
                  <a:pt x="6101" y="3659"/>
                  <a:pt x="6101" y="3659"/>
                </a:cubicBezTo>
                <a:cubicBezTo>
                  <a:pt x="6101" y="3659"/>
                  <a:pt x="6105" y="3679"/>
                  <a:pt x="6109" y="3686"/>
                </a:cubicBezTo>
                <a:cubicBezTo>
                  <a:pt x="6113" y="3693"/>
                  <a:pt x="6128" y="3704"/>
                  <a:pt x="6128" y="3704"/>
                </a:cubicBezTo>
                <a:cubicBezTo>
                  <a:pt x="6119" y="3709"/>
                  <a:pt x="6119" y="3709"/>
                  <a:pt x="6119" y="3709"/>
                </a:cubicBezTo>
                <a:cubicBezTo>
                  <a:pt x="6128" y="3716"/>
                  <a:pt x="6128" y="3716"/>
                  <a:pt x="6128" y="3716"/>
                </a:cubicBezTo>
                <a:cubicBezTo>
                  <a:pt x="6128" y="3716"/>
                  <a:pt x="6120" y="3725"/>
                  <a:pt x="6120" y="3734"/>
                </a:cubicBezTo>
                <a:cubicBezTo>
                  <a:pt x="6120" y="3743"/>
                  <a:pt x="6135" y="3753"/>
                  <a:pt x="6135" y="3753"/>
                </a:cubicBezTo>
                <a:cubicBezTo>
                  <a:pt x="6134" y="3771"/>
                  <a:pt x="6134" y="3771"/>
                  <a:pt x="6134" y="3771"/>
                </a:cubicBezTo>
                <a:cubicBezTo>
                  <a:pt x="6148" y="3782"/>
                  <a:pt x="6148" y="3782"/>
                  <a:pt x="6148" y="3782"/>
                </a:cubicBezTo>
                <a:cubicBezTo>
                  <a:pt x="6148" y="3782"/>
                  <a:pt x="6147" y="3789"/>
                  <a:pt x="6156" y="3798"/>
                </a:cubicBezTo>
                <a:cubicBezTo>
                  <a:pt x="6165" y="3807"/>
                  <a:pt x="6184" y="3807"/>
                  <a:pt x="6184" y="3807"/>
                </a:cubicBezTo>
                <a:cubicBezTo>
                  <a:pt x="6204" y="3829"/>
                  <a:pt x="6204" y="3829"/>
                  <a:pt x="6204" y="3829"/>
                </a:cubicBezTo>
                <a:cubicBezTo>
                  <a:pt x="6190" y="3813"/>
                  <a:pt x="6190" y="3813"/>
                  <a:pt x="6190" y="3813"/>
                </a:cubicBezTo>
                <a:cubicBezTo>
                  <a:pt x="6213" y="3839"/>
                  <a:pt x="6213" y="3839"/>
                  <a:pt x="6213" y="3839"/>
                </a:cubicBezTo>
                <a:cubicBezTo>
                  <a:pt x="6230" y="3841"/>
                  <a:pt x="6230" y="3841"/>
                  <a:pt x="6230" y="3841"/>
                </a:cubicBezTo>
                <a:cubicBezTo>
                  <a:pt x="6238" y="3859"/>
                  <a:pt x="6238" y="3859"/>
                  <a:pt x="6238" y="3859"/>
                </a:cubicBezTo>
                <a:cubicBezTo>
                  <a:pt x="6238" y="3859"/>
                  <a:pt x="6256" y="3855"/>
                  <a:pt x="6260" y="3863"/>
                </a:cubicBezTo>
                <a:cubicBezTo>
                  <a:pt x="6264" y="3871"/>
                  <a:pt x="6279" y="3897"/>
                  <a:pt x="6295" y="3911"/>
                </a:cubicBezTo>
                <a:cubicBezTo>
                  <a:pt x="6311" y="3925"/>
                  <a:pt x="6339" y="3932"/>
                  <a:pt x="6346" y="3937"/>
                </a:cubicBezTo>
                <a:cubicBezTo>
                  <a:pt x="6353" y="3942"/>
                  <a:pt x="6370" y="3960"/>
                  <a:pt x="6385" y="3960"/>
                </a:cubicBezTo>
                <a:cubicBezTo>
                  <a:pt x="6386" y="3960"/>
                  <a:pt x="6387" y="3960"/>
                  <a:pt x="6388" y="3960"/>
                </a:cubicBezTo>
                <a:cubicBezTo>
                  <a:pt x="6400" y="3958"/>
                  <a:pt x="6403" y="3948"/>
                  <a:pt x="6403" y="3948"/>
                </a:cubicBezTo>
                <a:cubicBezTo>
                  <a:pt x="6412" y="3948"/>
                  <a:pt x="6412" y="3948"/>
                  <a:pt x="6412" y="3948"/>
                </a:cubicBezTo>
                <a:cubicBezTo>
                  <a:pt x="6422" y="3940"/>
                  <a:pt x="6422" y="3940"/>
                  <a:pt x="6422" y="3940"/>
                </a:cubicBezTo>
                <a:cubicBezTo>
                  <a:pt x="6422" y="3940"/>
                  <a:pt x="6468" y="3915"/>
                  <a:pt x="6488" y="3917"/>
                </a:cubicBezTo>
                <a:cubicBezTo>
                  <a:pt x="6508" y="3919"/>
                  <a:pt x="6515" y="3913"/>
                  <a:pt x="6515" y="3913"/>
                </a:cubicBezTo>
                <a:cubicBezTo>
                  <a:pt x="6515" y="3913"/>
                  <a:pt x="6546" y="3902"/>
                  <a:pt x="6555" y="3907"/>
                </a:cubicBezTo>
                <a:cubicBezTo>
                  <a:pt x="6564" y="3912"/>
                  <a:pt x="6566" y="3917"/>
                  <a:pt x="6573" y="3916"/>
                </a:cubicBezTo>
                <a:cubicBezTo>
                  <a:pt x="6580" y="3915"/>
                  <a:pt x="6593" y="3906"/>
                  <a:pt x="6593" y="3906"/>
                </a:cubicBezTo>
                <a:cubicBezTo>
                  <a:pt x="6593" y="3906"/>
                  <a:pt x="6594" y="3916"/>
                  <a:pt x="6610" y="3923"/>
                </a:cubicBezTo>
                <a:cubicBezTo>
                  <a:pt x="6614" y="3925"/>
                  <a:pt x="6618" y="3926"/>
                  <a:pt x="6622" y="3927"/>
                </a:cubicBezTo>
                <a:cubicBezTo>
                  <a:pt x="6631" y="3929"/>
                  <a:pt x="6637" y="3929"/>
                  <a:pt x="6637" y="3929"/>
                </a:cubicBezTo>
                <a:cubicBezTo>
                  <a:pt x="6637" y="3929"/>
                  <a:pt x="6641" y="3944"/>
                  <a:pt x="6651" y="3940"/>
                </a:cubicBezTo>
                <a:cubicBezTo>
                  <a:pt x="6661" y="3936"/>
                  <a:pt x="6682" y="3918"/>
                  <a:pt x="6689" y="3916"/>
                </a:cubicBezTo>
                <a:cubicBezTo>
                  <a:pt x="6696" y="3914"/>
                  <a:pt x="6707" y="3916"/>
                  <a:pt x="6707" y="3916"/>
                </a:cubicBezTo>
                <a:cubicBezTo>
                  <a:pt x="6707" y="3916"/>
                  <a:pt x="6728" y="3898"/>
                  <a:pt x="6731" y="3897"/>
                </a:cubicBezTo>
                <a:cubicBezTo>
                  <a:pt x="6734" y="3896"/>
                  <a:pt x="6749" y="3893"/>
                  <a:pt x="6749" y="3893"/>
                </a:cubicBezTo>
                <a:cubicBezTo>
                  <a:pt x="6749" y="3893"/>
                  <a:pt x="6755" y="3877"/>
                  <a:pt x="6763" y="3878"/>
                </a:cubicBezTo>
                <a:cubicBezTo>
                  <a:pt x="6771" y="3879"/>
                  <a:pt x="6777" y="3887"/>
                  <a:pt x="6786" y="3882"/>
                </a:cubicBezTo>
                <a:cubicBezTo>
                  <a:pt x="6791" y="3879"/>
                  <a:pt x="6797" y="3873"/>
                  <a:pt x="6803" y="3868"/>
                </a:cubicBezTo>
                <a:cubicBezTo>
                  <a:pt x="6808" y="3862"/>
                  <a:pt x="6814" y="3858"/>
                  <a:pt x="6820" y="3857"/>
                </a:cubicBezTo>
                <a:cubicBezTo>
                  <a:pt x="6824" y="3856"/>
                  <a:pt x="6828" y="3856"/>
                  <a:pt x="6833" y="3856"/>
                </a:cubicBezTo>
                <a:cubicBezTo>
                  <a:pt x="6833" y="3856"/>
                  <a:pt x="6833" y="3856"/>
                  <a:pt x="6833" y="3856"/>
                </a:cubicBezTo>
                <a:cubicBezTo>
                  <a:pt x="6844" y="3857"/>
                  <a:pt x="6856" y="3859"/>
                  <a:pt x="6856" y="3859"/>
                </a:cubicBezTo>
                <a:cubicBezTo>
                  <a:pt x="6864" y="3845"/>
                  <a:pt x="6864" y="3845"/>
                  <a:pt x="6864" y="3845"/>
                </a:cubicBezTo>
                <a:cubicBezTo>
                  <a:pt x="6864" y="3845"/>
                  <a:pt x="6868" y="3847"/>
                  <a:pt x="6874" y="3850"/>
                </a:cubicBezTo>
                <a:cubicBezTo>
                  <a:pt x="6881" y="3853"/>
                  <a:pt x="6891" y="3856"/>
                  <a:pt x="6897" y="3854"/>
                </a:cubicBezTo>
                <a:cubicBezTo>
                  <a:pt x="6908" y="3850"/>
                  <a:pt x="6918" y="3842"/>
                  <a:pt x="6918" y="3842"/>
                </a:cubicBezTo>
                <a:cubicBezTo>
                  <a:pt x="6921" y="3849"/>
                  <a:pt x="6921" y="3849"/>
                  <a:pt x="6921" y="3849"/>
                </a:cubicBezTo>
                <a:cubicBezTo>
                  <a:pt x="6921" y="3849"/>
                  <a:pt x="6954" y="3842"/>
                  <a:pt x="6970" y="3861"/>
                </a:cubicBezTo>
                <a:cubicBezTo>
                  <a:pt x="6986" y="3880"/>
                  <a:pt x="6987" y="3889"/>
                  <a:pt x="6987" y="3889"/>
                </a:cubicBezTo>
                <a:cubicBezTo>
                  <a:pt x="7001" y="3888"/>
                  <a:pt x="7001" y="3888"/>
                  <a:pt x="7001" y="3888"/>
                </a:cubicBezTo>
                <a:cubicBezTo>
                  <a:pt x="7001" y="3888"/>
                  <a:pt x="6991" y="3903"/>
                  <a:pt x="6994" y="3904"/>
                </a:cubicBezTo>
                <a:cubicBezTo>
                  <a:pt x="6997" y="3905"/>
                  <a:pt x="7007" y="3898"/>
                  <a:pt x="7007" y="3901"/>
                </a:cubicBezTo>
                <a:cubicBezTo>
                  <a:pt x="7007" y="3904"/>
                  <a:pt x="7002" y="3912"/>
                  <a:pt x="7002" y="3920"/>
                </a:cubicBezTo>
                <a:cubicBezTo>
                  <a:pt x="7002" y="3928"/>
                  <a:pt x="7010" y="3957"/>
                  <a:pt x="7031" y="3958"/>
                </a:cubicBezTo>
                <a:cubicBezTo>
                  <a:pt x="7052" y="3959"/>
                  <a:pt x="7065" y="3957"/>
                  <a:pt x="7065" y="3957"/>
                </a:cubicBezTo>
                <a:cubicBezTo>
                  <a:pt x="7068" y="3939"/>
                  <a:pt x="7068" y="3939"/>
                  <a:pt x="7068" y="3939"/>
                </a:cubicBezTo>
                <a:cubicBezTo>
                  <a:pt x="7086" y="3949"/>
                  <a:pt x="7086" y="3949"/>
                  <a:pt x="7086" y="3949"/>
                </a:cubicBezTo>
                <a:cubicBezTo>
                  <a:pt x="7102" y="3944"/>
                  <a:pt x="7102" y="3944"/>
                  <a:pt x="7102" y="3944"/>
                </a:cubicBezTo>
                <a:cubicBezTo>
                  <a:pt x="7111" y="3953"/>
                  <a:pt x="7111" y="3953"/>
                  <a:pt x="7111" y="3953"/>
                </a:cubicBezTo>
                <a:cubicBezTo>
                  <a:pt x="7139" y="3952"/>
                  <a:pt x="7139" y="3952"/>
                  <a:pt x="7139" y="3952"/>
                </a:cubicBezTo>
                <a:cubicBezTo>
                  <a:pt x="7139" y="3936"/>
                  <a:pt x="7139" y="3936"/>
                  <a:pt x="7139" y="3936"/>
                </a:cubicBezTo>
                <a:cubicBezTo>
                  <a:pt x="7156" y="3935"/>
                  <a:pt x="7156" y="3935"/>
                  <a:pt x="7156" y="3935"/>
                </a:cubicBezTo>
                <a:cubicBezTo>
                  <a:pt x="7155" y="3938"/>
                  <a:pt x="7155" y="3938"/>
                  <a:pt x="7155" y="3938"/>
                </a:cubicBezTo>
                <a:cubicBezTo>
                  <a:pt x="7151" y="3947"/>
                  <a:pt x="7151" y="3947"/>
                  <a:pt x="7151" y="3947"/>
                </a:cubicBezTo>
                <a:cubicBezTo>
                  <a:pt x="7169" y="3944"/>
                  <a:pt x="7169" y="3944"/>
                  <a:pt x="7169" y="3944"/>
                </a:cubicBezTo>
                <a:cubicBezTo>
                  <a:pt x="7169" y="3944"/>
                  <a:pt x="7168" y="3966"/>
                  <a:pt x="7178" y="3975"/>
                </a:cubicBezTo>
                <a:cubicBezTo>
                  <a:pt x="7188" y="3984"/>
                  <a:pt x="7195" y="3986"/>
                  <a:pt x="7195" y="3986"/>
                </a:cubicBezTo>
                <a:cubicBezTo>
                  <a:pt x="7209" y="3973"/>
                  <a:pt x="7209" y="3973"/>
                  <a:pt x="7209" y="3973"/>
                </a:cubicBezTo>
                <a:cubicBezTo>
                  <a:pt x="7196" y="3993"/>
                  <a:pt x="7196" y="3993"/>
                  <a:pt x="7196" y="3993"/>
                </a:cubicBezTo>
                <a:cubicBezTo>
                  <a:pt x="7208" y="4011"/>
                  <a:pt x="7208" y="4011"/>
                  <a:pt x="7208" y="4011"/>
                </a:cubicBezTo>
                <a:cubicBezTo>
                  <a:pt x="7221" y="4016"/>
                  <a:pt x="7221" y="4016"/>
                  <a:pt x="7221" y="4016"/>
                </a:cubicBezTo>
                <a:cubicBezTo>
                  <a:pt x="7219" y="4046"/>
                  <a:pt x="7219" y="4046"/>
                  <a:pt x="7219" y="4046"/>
                </a:cubicBezTo>
                <a:cubicBezTo>
                  <a:pt x="7212" y="4048"/>
                  <a:pt x="7212" y="4048"/>
                  <a:pt x="7212" y="4048"/>
                </a:cubicBezTo>
                <a:cubicBezTo>
                  <a:pt x="7213" y="4069"/>
                  <a:pt x="7213" y="4069"/>
                  <a:pt x="7213" y="4069"/>
                </a:cubicBezTo>
                <a:cubicBezTo>
                  <a:pt x="7207" y="4072"/>
                  <a:pt x="7207" y="4072"/>
                  <a:pt x="7207" y="4072"/>
                </a:cubicBezTo>
                <a:cubicBezTo>
                  <a:pt x="7207" y="4072"/>
                  <a:pt x="7211" y="4090"/>
                  <a:pt x="7206" y="4098"/>
                </a:cubicBezTo>
                <a:cubicBezTo>
                  <a:pt x="7201" y="4106"/>
                  <a:pt x="7183" y="4119"/>
                  <a:pt x="7187" y="4126"/>
                </a:cubicBezTo>
                <a:cubicBezTo>
                  <a:pt x="7190" y="4132"/>
                  <a:pt x="7200" y="4135"/>
                  <a:pt x="7204" y="4136"/>
                </a:cubicBezTo>
                <a:cubicBezTo>
                  <a:pt x="7212" y="4134"/>
                  <a:pt x="7212" y="4134"/>
                  <a:pt x="7212" y="4134"/>
                </a:cubicBezTo>
                <a:cubicBezTo>
                  <a:pt x="7204" y="4136"/>
                  <a:pt x="7204" y="4136"/>
                  <a:pt x="7204" y="4136"/>
                </a:cubicBezTo>
                <a:cubicBezTo>
                  <a:pt x="7205" y="4137"/>
                  <a:pt x="7206" y="4137"/>
                  <a:pt x="7206" y="4137"/>
                </a:cubicBezTo>
                <a:cubicBezTo>
                  <a:pt x="7198" y="4142"/>
                  <a:pt x="7198" y="4142"/>
                  <a:pt x="7198" y="4142"/>
                </a:cubicBezTo>
                <a:cubicBezTo>
                  <a:pt x="7198" y="4142"/>
                  <a:pt x="7207" y="4170"/>
                  <a:pt x="7203" y="4172"/>
                </a:cubicBezTo>
                <a:cubicBezTo>
                  <a:pt x="7199" y="4174"/>
                  <a:pt x="7188" y="4172"/>
                  <a:pt x="7188" y="4172"/>
                </a:cubicBezTo>
                <a:cubicBezTo>
                  <a:pt x="7188" y="4172"/>
                  <a:pt x="7191" y="4213"/>
                  <a:pt x="7181" y="4224"/>
                </a:cubicBezTo>
                <a:cubicBezTo>
                  <a:pt x="7171" y="4235"/>
                  <a:pt x="7158" y="4231"/>
                  <a:pt x="7158" y="4231"/>
                </a:cubicBezTo>
                <a:cubicBezTo>
                  <a:pt x="7175" y="4268"/>
                  <a:pt x="7175" y="4268"/>
                  <a:pt x="7175" y="4268"/>
                </a:cubicBezTo>
                <a:cubicBezTo>
                  <a:pt x="7186" y="4260"/>
                  <a:pt x="7186" y="4260"/>
                  <a:pt x="7186" y="4260"/>
                </a:cubicBezTo>
                <a:cubicBezTo>
                  <a:pt x="7192" y="4273"/>
                  <a:pt x="7192" y="4273"/>
                  <a:pt x="7192" y="4273"/>
                </a:cubicBezTo>
                <a:cubicBezTo>
                  <a:pt x="7192" y="4273"/>
                  <a:pt x="7183" y="4286"/>
                  <a:pt x="7185" y="4293"/>
                </a:cubicBezTo>
                <a:cubicBezTo>
                  <a:pt x="7187" y="4300"/>
                  <a:pt x="7200" y="4297"/>
                  <a:pt x="7200" y="4297"/>
                </a:cubicBezTo>
                <a:cubicBezTo>
                  <a:pt x="7204" y="4324"/>
                  <a:pt x="7204" y="4324"/>
                  <a:pt x="7204" y="4324"/>
                </a:cubicBezTo>
                <a:cubicBezTo>
                  <a:pt x="7224" y="4328"/>
                  <a:pt x="7224" y="4328"/>
                  <a:pt x="7224" y="4328"/>
                </a:cubicBezTo>
                <a:cubicBezTo>
                  <a:pt x="7219" y="4336"/>
                  <a:pt x="7219" y="4336"/>
                  <a:pt x="7219" y="4336"/>
                </a:cubicBezTo>
                <a:cubicBezTo>
                  <a:pt x="7252" y="4371"/>
                  <a:pt x="7252" y="4371"/>
                  <a:pt x="7252" y="4371"/>
                </a:cubicBezTo>
                <a:cubicBezTo>
                  <a:pt x="7249" y="4376"/>
                  <a:pt x="7249" y="4376"/>
                  <a:pt x="7249" y="4376"/>
                </a:cubicBezTo>
                <a:cubicBezTo>
                  <a:pt x="7271" y="4403"/>
                  <a:pt x="7271" y="4403"/>
                  <a:pt x="7271" y="4403"/>
                </a:cubicBezTo>
                <a:cubicBezTo>
                  <a:pt x="7272" y="4404"/>
                  <a:pt x="7272" y="4404"/>
                  <a:pt x="7272" y="4404"/>
                </a:cubicBezTo>
                <a:cubicBezTo>
                  <a:pt x="7308" y="4435"/>
                  <a:pt x="7308" y="4435"/>
                  <a:pt x="7308" y="4435"/>
                </a:cubicBezTo>
                <a:cubicBezTo>
                  <a:pt x="7309" y="4447"/>
                  <a:pt x="7309" y="4447"/>
                  <a:pt x="7309" y="4447"/>
                </a:cubicBezTo>
                <a:cubicBezTo>
                  <a:pt x="7321" y="4463"/>
                  <a:pt x="7321" y="4463"/>
                  <a:pt x="7321" y="4463"/>
                </a:cubicBezTo>
                <a:cubicBezTo>
                  <a:pt x="7325" y="4501"/>
                  <a:pt x="7325" y="4501"/>
                  <a:pt x="7325" y="4501"/>
                </a:cubicBezTo>
                <a:cubicBezTo>
                  <a:pt x="7325" y="4501"/>
                  <a:pt x="7326" y="4502"/>
                  <a:pt x="7327" y="4503"/>
                </a:cubicBezTo>
                <a:cubicBezTo>
                  <a:pt x="7331" y="4501"/>
                  <a:pt x="7334" y="4499"/>
                  <a:pt x="7337" y="4497"/>
                </a:cubicBezTo>
                <a:cubicBezTo>
                  <a:pt x="7334" y="4499"/>
                  <a:pt x="7331" y="4501"/>
                  <a:pt x="7327" y="4503"/>
                </a:cubicBezTo>
                <a:cubicBezTo>
                  <a:pt x="7331" y="4506"/>
                  <a:pt x="7338" y="4513"/>
                  <a:pt x="7339" y="4518"/>
                </a:cubicBezTo>
                <a:cubicBezTo>
                  <a:pt x="7339" y="4519"/>
                  <a:pt x="7339" y="4520"/>
                  <a:pt x="7338" y="4521"/>
                </a:cubicBezTo>
                <a:cubicBezTo>
                  <a:pt x="7332" y="4525"/>
                  <a:pt x="7327" y="4526"/>
                  <a:pt x="7327" y="4526"/>
                </a:cubicBezTo>
                <a:cubicBezTo>
                  <a:pt x="7327" y="4526"/>
                  <a:pt x="7340" y="4545"/>
                  <a:pt x="7343" y="4552"/>
                </a:cubicBezTo>
                <a:cubicBezTo>
                  <a:pt x="7346" y="4559"/>
                  <a:pt x="7355" y="4562"/>
                  <a:pt x="7355" y="4562"/>
                </a:cubicBezTo>
                <a:cubicBezTo>
                  <a:pt x="7351" y="4581"/>
                  <a:pt x="7351" y="4581"/>
                  <a:pt x="7351" y="4581"/>
                </a:cubicBezTo>
                <a:cubicBezTo>
                  <a:pt x="7351" y="4581"/>
                  <a:pt x="7383" y="4618"/>
                  <a:pt x="7380" y="4645"/>
                </a:cubicBezTo>
                <a:cubicBezTo>
                  <a:pt x="7377" y="4672"/>
                  <a:pt x="7364" y="4678"/>
                  <a:pt x="7364" y="4678"/>
                </a:cubicBezTo>
                <a:cubicBezTo>
                  <a:pt x="7363" y="4695"/>
                  <a:pt x="7363" y="4695"/>
                  <a:pt x="7363" y="4695"/>
                </a:cubicBezTo>
                <a:cubicBezTo>
                  <a:pt x="7370" y="4694"/>
                  <a:pt x="7370" y="4694"/>
                  <a:pt x="7370" y="4694"/>
                </a:cubicBezTo>
                <a:cubicBezTo>
                  <a:pt x="7370" y="4694"/>
                  <a:pt x="7366" y="4717"/>
                  <a:pt x="7380" y="4738"/>
                </a:cubicBezTo>
                <a:cubicBezTo>
                  <a:pt x="7394" y="4759"/>
                  <a:pt x="7406" y="4797"/>
                  <a:pt x="7403" y="4812"/>
                </a:cubicBezTo>
                <a:cubicBezTo>
                  <a:pt x="7400" y="4827"/>
                  <a:pt x="7389" y="4844"/>
                  <a:pt x="7389" y="4844"/>
                </a:cubicBezTo>
                <a:cubicBezTo>
                  <a:pt x="7389" y="4844"/>
                  <a:pt x="7396" y="4860"/>
                  <a:pt x="7388" y="4866"/>
                </a:cubicBezTo>
                <a:cubicBezTo>
                  <a:pt x="7380" y="4872"/>
                  <a:pt x="7367" y="4870"/>
                  <a:pt x="7367" y="4870"/>
                </a:cubicBezTo>
                <a:cubicBezTo>
                  <a:pt x="7361" y="4884"/>
                  <a:pt x="7361" y="4884"/>
                  <a:pt x="7361" y="4884"/>
                </a:cubicBezTo>
                <a:cubicBezTo>
                  <a:pt x="7363" y="4899"/>
                  <a:pt x="7363" y="4899"/>
                  <a:pt x="7363" y="4899"/>
                </a:cubicBezTo>
                <a:cubicBezTo>
                  <a:pt x="7363" y="4899"/>
                  <a:pt x="7338" y="4896"/>
                  <a:pt x="7339" y="4908"/>
                </a:cubicBezTo>
                <a:cubicBezTo>
                  <a:pt x="7340" y="4920"/>
                  <a:pt x="7336" y="4938"/>
                  <a:pt x="7336" y="4938"/>
                </a:cubicBezTo>
                <a:cubicBezTo>
                  <a:pt x="7329" y="4948"/>
                  <a:pt x="7329" y="4948"/>
                  <a:pt x="7329" y="4948"/>
                </a:cubicBezTo>
                <a:cubicBezTo>
                  <a:pt x="7329" y="4948"/>
                  <a:pt x="7333" y="4980"/>
                  <a:pt x="7330" y="4990"/>
                </a:cubicBezTo>
                <a:cubicBezTo>
                  <a:pt x="7327" y="5000"/>
                  <a:pt x="7316" y="5003"/>
                  <a:pt x="7316" y="5003"/>
                </a:cubicBezTo>
                <a:cubicBezTo>
                  <a:pt x="7316" y="5030"/>
                  <a:pt x="7316" y="5030"/>
                  <a:pt x="7316" y="5030"/>
                </a:cubicBezTo>
                <a:cubicBezTo>
                  <a:pt x="7301" y="5042"/>
                  <a:pt x="7301" y="5042"/>
                  <a:pt x="7301" y="5042"/>
                </a:cubicBezTo>
                <a:cubicBezTo>
                  <a:pt x="7301" y="5069"/>
                  <a:pt x="7301" y="5069"/>
                  <a:pt x="7301" y="5069"/>
                </a:cubicBezTo>
                <a:cubicBezTo>
                  <a:pt x="7308" y="5078"/>
                  <a:pt x="7308" y="5078"/>
                  <a:pt x="7308" y="5078"/>
                </a:cubicBezTo>
                <a:cubicBezTo>
                  <a:pt x="7295" y="5093"/>
                  <a:pt x="7295" y="5093"/>
                  <a:pt x="7295" y="5093"/>
                </a:cubicBezTo>
                <a:cubicBezTo>
                  <a:pt x="7298" y="5120"/>
                  <a:pt x="7298" y="5120"/>
                  <a:pt x="7298" y="5120"/>
                </a:cubicBezTo>
                <a:cubicBezTo>
                  <a:pt x="7302" y="5166"/>
                  <a:pt x="7302" y="5166"/>
                  <a:pt x="7302" y="5166"/>
                </a:cubicBezTo>
                <a:cubicBezTo>
                  <a:pt x="7302" y="5166"/>
                  <a:pt x="7311" y="5183"/>
                  <a:pt x="7320" y="5196"/>
                </a:cubicBezTo>
                <a:cubicBezTo>
                  <a:pt x="7329" y="5209"/>
                  <a:pt x="7362" y="5257"/>
                  <a:pt x="7363" y="5274"/>
                </a:cubicBezTo>
                <a:cubicBezTo>
                  <a:pt x="7364" y="5291"/>
                  <a:pt x="7377" y="5308"/>
                  <a:pt x="7381" y="5321"/>
                </a:cubicBezTo>
                <a:cubicBezTo>
                  <a:pt x="7385" y="5334"/>
                  <a:pt x="7400" y="5349"/>
                  <a:pt x="7400" y="5349"/>
                </a:cubicBezTo>
                <a:cubicBezTo>
                  <a:pt x="7400" y="5363"/>
                  <a:pt x="7400" y="5363"/>
                  <a:pt x="7400" y="5363"/>
                </a:cubicBezTo>
                <a:cubicBezTo>
                  <a:pt x="7400" y="5363"/>
                  <a:pt x="7429" y="5384"/>
                  <a:pt x="7429" y="5400"/>
                </a:cubicBezTo>
                <a:cubicBezTo>
                  <a:pt x="7429" y="5416"/>
                  <a:pt x="7427" y="5490"/>
                  <a:pt x="7427" y="5490"/>
                </a:cubicBezTo>
                <a:cubicBezTo>
                  <a:pt x="7427" y="5490"/>
                  <a:pt x="7442" y="5515"/>
                  <a:pt x="7444" y="5535"/>
                </a:cubicBezTo>
                <a:cubicBezTo>
                  <a:pt x="7446" y="5555"/>
                  <a:pt x="7438" y="5555"/>
                  <a:pt x="7438" y="5555"/>
                </a:cubicBezTo>
                <a:cubicBezTo>
                  <a:pt x="7447" y="5588"/>
                  <a:pt x="7447" y="5588"/>
                  <a:pt x="7447" y="5588"/>
                </a:cubicBezTo>
                <a:cubicBezTo>
                  <a:pt x="7449" y="5612"/>
                  <a:pt x="7449" y="5612"/>
                  <a:pt x="7449" y="5612"/>
                </a:cubicBezTo>
                <a:cubicBezTo>
                  <a:pt x="7457" y="5612"/>
                  <a:pt x="7457" y="5612"/>
                  <a:pt x="7457" y="5612"/>
                </a:cubicBezTo>
                <a:cubicBezTo>
                  <a:pt x="7457" y="5612"/>
                  <a:pt x="7454" y="5632"/>
                  <a:pt x="7455" y="5636"/>
                </a:cubicBezTo>
                <a:cubicBezTo>
                  <a:pt x="7456" y="5640"/>
                  <a:pt x="7466" y="5648"/>
                  <a:pt x="7466" y="5648"/>
                </a:cubicBezTo>
                <a:cubicBezTo>
                  <a:pt x="7467" y="5667"/>
                  <a:pt x="7467" y="5667"/>
                  <a:pt x="7467" y="5667"/>
                </a:cubicBezTo>
                <a:cubicBezTo>
                  <a:pt x="7467" y="5667"/>
                  <a:pt x="7482" y="5699"/>
                  <a:pt x="7488" y="5710"/>
                </a:cubicBezTo>
                <a:cubicBezTo>
                  <a:pt x="7494" y="5721"/>
                  <a:pt x="7514" y="5728"/>
                  <a:pt x="7514" y="5728"/>
                </a:cubicBezTo>
                <a:cubicBezTo>
                  <a:pt x="7514" y="5728"/>
                  <a:pt x="7521" y="5751"/>
                  <a:pt x="7525" y="5755"/>
                </a:cubicBezTo>
                <a:cubicBezTo>
                  <a:pt x="7529" y="5759"/>
                  <a:pt x="7545" y="5777"/>
                  <a:pt x="7545" y="5790"/>
                </a:cubicBezTo>
                <a:cubicBezTo>
                  <a:pt x="7545" y="5803"/>
                  <a:pt x="7542" y="5829"/>
                  <a:pt x="7552" y="5844"/>
                </a:cubicBezTo>
                <a:cubicBezTo>
                  <a:pt x="7562" y="5859"/>
                  <a:pt x="7597" y="5892"/>
                  <a:pt x="7597" y="5906"/>
                </a:cubicBezTo>
                <a:cubicBezTo>
                  <a:pt x="7597" y="5920"/>
                  <a:pt x="7596" y="5947"/>
                  <a:pt x="7592" y="5951"/>
                </a:cubicBezTo>
                <a:cubicBezTo>
                  <a:pt x="7588" y="5955"/>
                  <a:pt x="7576" y="5947"/>
                  <a:pt x="7575" y="5955"/>
                </a:cubicBezTo>
                <a:cubicBezTo>
                  <a:pt x="7574" y="5963"/>
                  <a:pt x="7577" y="5971"/>
                  <a:pt x="7587" y="5988"/>
                </a:cubicBezTo>
                <a:cubicBezTo>
                  <a:pt x="7597" y="6005"/>
                  <a:pt x="7589" y="6024"/>
                  <a:pt x="7595" y="6032"/>
                </a:cubicBezTo>
                <a:cubicBezTo>
                  <a:pt x="7601" y="6040"/>
                  <a:pt x="7598" y="6029"/>
                  <a:pt x="7604" y="6026"/>
                </a:cubicBezTo>
                <a:cubicBezTo>
                  <a:pt x="7610" y="6023"/>
                  <a:pt x="7617" y="6033"/>
                  <a:pt x="7617" y="6033"/>
                </a:cubicBezTo>
                <a:cubicBezTo>
                  <a:pt x="7635" y="6039"/>
                  <a:pt x="7635" y="6039"/>
                  <a:pt x="7635" y="6039"/>
                </a:cubicBezTo>
                <a:cubicBezTo>
                  <a:pt x="7635" y="6039"/>
                  <a:pt x="7640" y="6065"/>
                  <a:pt x="7659" y="6062"/>
                </a:cubicBezTo>
                <a:cubicBezTo>
                  <a:pt x="7678" y="6059"/>
                  <a:pt x="7679" y="6045"/>
                  <a:pt x="7691" y="6041"/>
                </a:cubicBezTo>
                <a:cubicBezTo>
                  <a:pt x="7703" y="6037"/>
                  <a:pt x="7738" y="6048"/>
                  <a:pt x="7747" y="6045"/>
                </a:cubicBezTo>
                <a:cubicBezTo>
                  <a:pt x="7756" y="6042"/>
                  <a:pt x="7752" y="6021"/>
                  <a:pt x="7775" y="6021"/>
                </a:cubicBezTo>
                <a:cubicBezTo>
                  <a:pt x="7798" y="6021"/>
                  <a:pt x="7806" y="6029"/>
                  <a:pt x="7806" y="6029"/>
                </a:cubicBezTo>
                <a:cubicBezTo>
                  <a:pt x="7806" y="6029"/>
                  <a:pt x="7817" y="6018"/>
                  <a:pt x="7840" y="6019"/>
                </a:cubicBezTo>
                <a:cubicBezTo>
                  <a:pt x="7863" y="6020"/>
                  <a:pt x="7875" y="6030"/>
                  <a:pt x="7880" y="6029"/>
                </a:cubicBezTo>
                <a:cubicBezTo>
                  <a:pt x="7885" y="6028"/>
                  <a:pt x="7897" y="6018"/>
                  <a:pt x="7897" y="6018"/>
                </a:cubicBezTo>
                <a:cubicBezTo>
                  <a:pt x="7897" y="6018"/>
                  <a:pt x="7911" y="6025"/>
                  <a:pt x="7920" y="6020"/>
                </a:cubicBezTo>
                <a:cubicBezTo>
                  <a:pt x="7929" y="6015"/>
                  <a:pt x="7941" y="6007"/>
                  <a:pt x="7941" y="6007"/>
                </a:cubicBezTo>
                <a:cubicBezTo>
                  <a:pt x="7941" y="6007"/>
                  <a:pt x="7965" y="6015"/>
                  <a:pt x="7987" y="6000"/>
                </a:cubicBezTo>
                <a:cubicBezTo>
                  <a:pt x="8009" y="5985"/>
                  <a:pt x="8039" y="5956"/>
                  <a:pt x="8039" y="5956"/>
                </a:cubicBezTo>
                <a:cubicBezTo>
                  <a:pt x="8052" y="5948"/>
                  <a:pt x="8052" y="5948"/>
                  <a:pt x="8052" y="5948"/>
                </a:cubicBezTo>
                <a:cubicBezTo>
                  <a:pt x="8114" y="5882"/>
                  <a:pt x="8114" y="5882"/>
                  <a:pt x="8114" y="5882"/>
                </a:cubicBezTo>
                <a:cubicBezTo>
                  <a:pt x="8129" y="5883"/>
                  <a:pt x="8129" y="5883"/>
                  <a:pt x="8129" y="5883"/>
                </a:cubicBezTo>
                <a:cubicBezTo>
                  <a:pt x="8129" y="5883"/>
                  <a:pt x="8166" y="5832"/>
                  <a:pt x="8170" y="5818"/>
                </a:cubicBezTo>
                <a:cubicBezTo>
                  <a:pt x="8174" y="5804"/>
                  <a:pt x="8191" y="5768"/>
                  <a:pt x="8200" y="5762"/>
                </a:cubicBezTo>
                <a:cubicBezTo>
                  <a:pt x="8209" y="5756"/>
                  <a:pt x="8240" y="5743"/>
                  <a:pt x="8243" y="5732"/>
                </a:cubicBezTo>
                <a:cubicBezTo>
                  <a:pt x="8246" y="5721"/>
                  <a:pt x="8262" y="5680"/>
                  <a:pt x="8262" y="5680"/>
                </a:cubicBezTo>
                <a:cubicBezTo>
                  <a:pt x="8262" y="5680"/>
                  <a:pt x="8268" y="5663"/>
                  <a:pt x="8273" y="5647"/>
                </a:cubicBezTo>
                <a:cubicBezTo>
                  <a:pt x="8275" y="5639"/>
                  <a:pt x="8277" y="5632"/>
                  <a:pt x="8277" y="5627"/>
                </a:cubicBezTo>
                <a:cubicBezTo>
                  <a:pt x="8278" y="5612"/>
                  <a:pt x="8269" y="5601"/>
                  <a:pt x="8269" y="5601"/>
                </a:cubicBezTo>
                <a:cubicBezTo>
                  <a:pt x="8269" y="5601"/>
                  <a:pt x="8250" y="5595"/>
                  <a:pt x="8271" y="5575"/>
                </a:cubicBezTo>
                <a:cubicBezTo>
                  <a:pt x="8292" y="5555"/>
                  <a:pt x="8327" y="5541"/>
                  <a:pt x="8348" y="5529"/>
                </a:cubicBezTo>
                <a:cubicBezTo>
                  <a:pt x="8369" y="5517"/>
                  <a:pt x="8404" y="5500"/>
                  <a:pt x="8404" y="5491"/>
                </a:cubicBezTo>
                <a:cubicBezTo>
                  <a:pt x="8404" y="5482"/>
                  <a:pt x="8404" y="5474"/>
                  <a:pt x="8404" y="5474"/>
                </a:cubicBezTo>
                <a:cubicBezTo>
                  <a:pt x="8404" y="5474"/>
                  <a:pt x="8393" y="5483"/>
                  <a:pt x="8392" y="5469"/>
                </a:cubicBezTo>
                <a:cubicBezTo>
                  <a:pt x="8391" y="5455"/>
                  <a:pt x="8411" y="5440"/>
                  <a:pt x="8409" y="5430"/>
                </a:cubicBezTo>
                <a:cubicBezTo>
                  <a:pt x="8407" y="5420"/>
                  <a:pt x="8403" y="5406"/>
                  <a:pt x="8403" y="5406"/>
                </a:cubicBezTo>
                <a:cubicBezTo>
                  <a:pt x="8410" y="5387"/>
                  <a:pt x="8410" y="5387"/>
                  <a:pt x="8410" y="5387"/>
                </a:cubicBezTo>
                <a:cubicBezTo>
                  <a:pt x="8408" y="5382"/>
                  <a:pt x="8408" y="5382"/>
                  <a:pt x="8408" y="5382"/>
                </a:cubicBezTo>
                <a:cubicBezTo>
                  <a:pt x="8397" y="5395"/>
                  <a:pt x="8397" y="5395"/>
                  <a:pt x="8397" y="5395"/>
                </a:cubicBezTo>
                <a:cubicBezTo>
                  <a:pt x="8400" y="5368"/>
                  <a:pt x="8400" y="5368"/>
                  <a:pt x="8400" y="5368"/>
                </a:cubicBezTo>
                <a:cubicBezTo>
                  <a:pt x="8400" y="5368"/>
                  <a:pt x="8385" y="5353"/>
                  <a:pt x="8384" y="5343"/>
                </a:cubicBezTo>
                <a:cubicBezTo>
                  <a:pt x="8383" y="5333"/>
                  <a:pt x="8392" y="5323"/>
                  <a:pt x="8387" y="5311"/>
                </a:cubicBezTo>
                <a:cubicBezTo>
                  <a:pt x="8382" y="5299"/>
                  <a:pt x="8370" y="5310"/>
                  <a:pt x="8370" y="5297"/>
                </a:cubicBezTo>
                <a:cubicBezTo>
                  <a:pt x="8370" y="5284"/>
                  <a:pt x="8381" y="5263"/>
                  <a:pt x="8384" y="5259"/>
                </a:cubicBezTo>
                <a:cubicBezTo>
                  <a:pt x="8387" y="5255"/>
                  <a:pt x="8411" y="5249"/>
                  <a:pt x="8414" y="5240"/>
                </a:cubicBezTo>
                <a:cubicBezTo>
                  <a:pt x="8417" y="5231"/>
                  <a:pt x="8422" y="5216"/>
                  <a:pt x="8429" y="5211"/>
                </a:cubicBezTo>
                <a:cubicBezTo>
                  <a:pt x="8436" y="5206"/>
                  <a:pt x="8441" y="5211"/>
                  <a:pt x="8449" y="5205"/>
                </a:cubicBezTo>
                <a:cubicBezTo>
                  <a:pt x="8457" y="5199"/>
                  <a:pt x="8472" y="5191"/>
                  <a:pt x="8474" y="5175"/>
                </a:cubicBezTo>
                <a:cubicBezTo>
                  <a:pt x="8476" y="5159"/>
                  <a:pt x="8493" y="5141"/>
                  <a:pt x="8510" y="5133"/>
                </a:cubicBezTo>
                <a:cubicBezTo>
                  <a:pt x="8527" y="5125"/>
                  <a:pt x="8571" y="5111"/>
                  <a:pt x="8579" y="5104"/>
                </a:cubicBezTo>
                <a:cubicBezTo>
                  <a:pt x="8587" y="5097"/>
                  <a:pt x="8620" y="5080"/>
                  <a:pt x="8620" y="5080"/>
                </a:cubicBezTo>
                <a:cubicBezTo>
                  <a:pt x="8620" y="5070"/>
                  <a:pt x="8620" y="5070"/>
                  <a:pt x="8620" y="5070"/>
                </a:cubicBezTo>
                <a:cubicBezTo>
                  <a:pt x="8620" y="5070"/>
                  <a:pt x="8638" y="5051"/>
                  <a:pt x="8638" y="5046"/>
                </a:cubicBezTo>
                <a:cubicBezTo>
                  <a:pt x="8638" y="5041"/>
                  <a:pt x="8660" y="5019"/>
                  <a:pt x="8660" y="5019"/>
                </a:cubicBezTo>
                <a:cubicBezTo>
                  <a:pt x="8658" y="5010"/>
                  <a:pt x="8658" y="5010"/>
                  <a:pt x="8658" y="5010"/>
                </a:cubicBezTo>
                <a:cubicBezTo>
                  <a:pt x="8658" y="5010"/>
                  <a:pt x="8670" y="4993"/>
                  <a:pt x="8670" y="4985"/>
                </a:cubicBezTo>
                <a:cubicBezTo>
                  <a:pt x="8670" y="4977"/>
                  <a:pt x="8669" y="4966"/>
                  <a:pt x="8669" y="4966"/>
                </a:cubicBezTo>
                <a:cubicBezTo>
                  <a:pt x="8661" y="4967"/>
                  <a:pt x="8661" y="4967"/>
                  <a:pt x="8661" y="4967"/>
                </a:cubicBezTo>
                <a:cubicBezTo>
                  <a:pt x="8661" y="4926"/>
                  <a:pt x="8661" y="4926"/>
                  <a:pt x="8661" y="4926"/>
                </a:cubicBezTo>
                <a:cubicBezTo>
                  <a:pt x="8653" y="4918"/>
                  <a:pt x="8653" y="4918"/>
                  <a:pt x="8653" y="4918"/>
                </a:cubicBezTo>
                <a:cubicBezTo>
                  <a:pt x="8664" y="4911"/>
                  <a:pt x="8664" y="4911"/>
                  <a:pt x="8664" y="4911"/>
                </a:cubicBezTo>
                <a:cubicBezTo>
                  <a:pt x="8657" y="4880"/>
                  <a:pt x="8657" y="4880"/>
                  <a:pt x="8657" y="4880"/>
                </a:cubicBezTo>
                <a:cubicBezTo>
                  <a:pt x="8665" y="4860"/>
                  <a:pt x="8665" y="4860"/>
                  <a:pt x="8665" y="4860"/>
                </a:cubicBezTo>
                <a:cubicBezTo>
                  <a:pt x="8655" y="4834"/>
                  <a:pt x="8655" y="4834"/>
                  <a:pt x="8655" y="4834"/>
                </a:cubicBezTo>
                <a:cubicBezTo>
                  <a:pt x="8655" y="4834"/>
                  <a:pt x="8667" y="4777"/>
                  <a:pt x="8667" y="4769"/>
                </a:cubicBezTo>
                <a:cubicBezTo>
                  <a:pt x="8667" y="4761"/>
                  <a:pt x="8659" y="4756"/>
                  <a:pt x="8659" y="4756"/>
                </a:cubicBezTo>
                <a:cubicBezTo>
                  <a:pt x="8659" y="4756"/>
                  <a:pt x="8659" y="4756"/>
                  <a:pt x="8659" y="4756"/>
                </a:cubicBezTo>
                <a:cubicBezTo>
                  <a:pt x="8656" y="4745"/>
                  <a:pt x="8656" y="4745"/>
                  <a:pt x="8656" y="4745"/>
                </a:cubicBezTo>
                <a:cubicBezTo>
                  <a:pt x="8656" y="4745"/>
                  <a:pt x="8628" y="4738"/>
                  <a:pt x="8626" y="4727"/>
                </a:cubicBezTo>
                <a:cubicBezTo>
                  <a:pt x="8624" y="4716"/>
                  <a:pt x="8622" y="4685"/>
                  <a:pt x="8622" y="4685"/>
                </a:cubicBezTo>
                <a:cubicBezTo>
                  <a:pt x="8607" y="4654"/>
                  <a:pt x="8607" y="4654"/>
                  <a:pt x="8607" y="4654"/>
                </a:cubicBezTo>
                <a:cubicBezTo>
                  <a:pt x="8616" y="4623"/>
                  <a:pt x="8616" y="4623"/>
                  <a:pt x="8616" y="4623"/>
                </a:cubicBezTo>
                <a:cubicBezTo>
                  <a:pt x="8605" y="4609"/>
                  <a:pt x="8605" y="4609"/>
                  <a:pt x="8605" y="4609"/>
                </a:cubicBezTo>
                <a:cubicBezTo>
                  <a:pt x="8605" y="4609"/>
                  <a:pt x="8625" y="4574"/>
                  <a:pt x="8620" y="4566"/>
                </a:cubicBezTo>
                <a:cubicBezTo>
                  <a:pt x="8615" y="4558"/>
                  <a:pt x="8588" y="4551"/>
                  <a:pt x="8585" y="4539"/>
                </a:cubicBezTo>
                <a:cubicBezTo>
                  <a:pt x="8582" y="4527"/>
                  <a:pt x="8599" y="4488"/>
                  <a:pt x="8600" y="4481"/>
                </a:cubicBezTo>
                <a:cubicBezTo>
                  <a:pt x="8601" y="4475"/>
                  <a:pt x="8603" y="4452"/>
                  <a:pt x="8604" y="4447"/>
                </a:cubicBezTo>
                <a:cubicBezTo>
                  <a:pt x="8604" y="4446"/>
                  <a:pt x="8604" y="4446"/>
                  <a:pt x="8604" y="4446"/>
                </a:cubicBezTo>
                <a:cubicBezTo>
                  <a:pt x="8617" y="4443"/>
                  <a:pt x="8617" y="4443"/>
                  <a:pt x="8617" y="4443"/>
                </a:cubicBezTo>
                <a:cubicBezTo>
                  <a:pt x="8637" y="4401"/>
                  <a:pt x="8637" y="4401"/>
                  <a:pt x="8637" y="4401"/>
                </a:cubicBezTo>
                <a:cubicBezTo>
                  <a:pt x="8637" y="4401"/>
                  <a:pt x="8635" y="4386"/>
                  <a:pt x="8635" y="4379"/>
                </a:cubicBezTo>
                <a:cubicBezTo>
                  <a:pt x="8635" y="4372"/>
                  <a:pt x="8656" y="4372"/>
                  <a:pt x="8655" y="4362"/>
                </a:cubicBezTo>
                <a:cubicBezTo>
                  <a:pt x="8654" y="4352"/>
                  <a:pt x="8649" y="4339"/>
                  <a:pt x="8657" y="4336"/>
                </a:cubicBezTo>
                <a:cubicBezTo>
                  <a:pt x="8665" y="4333"/>
                  <a:pt x="8680" y="4326"/>
                  <a:pt x="8680" y="4326"/>
                </a:cubicBezTo>
                <a:cubicBezTo>
                  <a:pt x="8684" y="4299"/>
                  <a:pt x="8684" y="4299"/>
                  <a:pt x="8684" y="4299"/>
                </a:cubicBezTo>
                <a:cubicBezTo>
                  <a:pt x="8684" y="4299"/>
                  <a:pt x="8708" y="4304"/>
                  <a:pt x="8716" y="4289"/>
                </a:cubicBezTo>
                <a:cubicBezTo>
                  <a:pt x="8717" y="4287"/>
                  <a:pt x="8718" y="4284"/>
                  <a:pt x="8720" y="4281"/>
                </a:cubicBezTo>
                <a:cubicBezTo>
                  <a:pt x="8719" y="4283"/>
                  <a:pt x="8719" y="4284"/>
                  <a:pt x="8718" y="4285"/>
                </a:cubicBezTo>
                <a:cubicBezTo>
                  <a:pt x="8727" y="4268"/>
                  <a:pt x="8744" y="4236"/>
                  <a:pt x="8750" y="4226"/>
                </a:cubicBezTo>
                <a:cubicBezTo>
                  <a:pt x="8757" y="4215"/>
                  <a:pt x="8789" y="4200"/>
                  <a:pt x="8792" y="4185"/>
                </a:cubicBezTo>
                <a:cubicBezTo>
                  <a:pt x="8795" y="4170"/>
                  <a:pt x="8838" y="4132"/>
                  <a:pt x="8849" y="4119"/>
                </a:cubicBezTo>
                <a:cubicBezTo>
                  <a:pt x="8860" y="4106"/>
                  <a:pt x="8894" y="4087"/>
                  <a:pt x="8902" y="4082"/>
                </a:cubicBezTo>
                <a:cubicBezTo>
                  <a:pt x="8910" y="4077"/>
                  <a:pt x="8967" y="4030"/>
                  <a:pt x="8973" y="4019"/>
                </a:cubicBezTo>
                <a:cubicBezTo>
                  <a:pt x="8979" y="4008"/>
                  <a:pt x="9023" y="3959"/>
                  <a:pt x="9027" y="3945"/>
                </a:cubicBezTo>
                <a:cubicBezTo>
                  <a:pt x="9031" y="3931"/>
                  <a:pt x="9056" y="3885"/>
                  <a:pt x="9062" y="3880"/>
                </a:cubicBezTo>
                <a:cubicBezTo>
                  <a:pt x="9068" y="3875"/>
                  <a:pt x="9076" y="3862"/>
                  <a:pt x="9076" y="3854"/>
                </a:cubicBezTo>
                <a:cubicBezTo>
                  <a:pt x="9076" y="3846"/>
                  <a:pt x="9082" y="3817"/>
                  <a:pt x="9089" y="3808"/>
                </a:cubicBezTo>
                <a:cubicBezTo>
                  <a:pt x="9096" y="3799"/>
                  <a:pt x="9109" y="3787"/>
                  <a:pt x="9109" y="3774"/>
                </a:cubicBezTo>
                <a:cubicBezTo>
                  <a:pt x="9109" y="3761"/>
                  <a:pt x="9119" y="3751"/>
                  <a:pt x="9119" y="3751"/>
                </a:cubicBezTo>
                <a:cubicBezTo>
                  <a:pt x="9132" y="3715"/>
                  <a:pt x="9132" y="3715"/>
                  <a:pt x="9132" y="3715"/>
                </a:cubicBezTo>
                <a:cubicBezTo>
                  <a:pt x="9132" y="3715"/>
                  <a:pt x="9149" y="3719"/>
                  <a:pt x="9149" y="3693"/>
                </a:cubicBezTo>
                <a:cubicBezTo>
                  <a:pt x="9149" y="3667"/>
                  <a:pt x="9149" y="3639"/>
                  <a:pt x="9149" y="3639"/>
                </a:cubicBezTo>
                <a:cubicBezTo>
                  <a:pt x="9163" y="3630"/>
                  <a:pt x="9163" y="3630"/>
                  <a:pt x="9163" y="3630"/>
                </a:cubicBezTo>
                <a:cubicBezTo>
                  <a:pt x="9159" y="3584"/>
                  <a:pt x="9159" y="3584"/>
                  <a:pt x="9159" y="3584"/>
                </a:cubicBezTo>
                <a:cubicBezTo>
                  <a:pt x="9159" y="3584"/>
                  <a:pt x="9172" y="3560"/>
                  <a:pt x="9166" y="3554"/>
                </a:cubicBezTo>
                <a:cubicBezTo>
                  <a:pt x="9160" y="3548"/>
                  <a:pt x="9139" y="3546"/>
                  <a:pt x="9139" y="3546"/>
                </a:cubicBezTo>
                <a:cubicBezTo>
                  <a:pt x="9139" y="3546"/>
                  <a:pt x="9131" y="3560"/>
                  <a:pt x="9124" y="3567"/>
                </a:cubicBezTo>
                <a:cubicBezTo>
                  <a:pt x="9117" y="3574"/>
                  <a:pt x="9080" y="3583"/>
                  <a:pt x="9074" y="3583"/>
                </a:cubicBezTo>
                <a:cubicBezTo>
                  <a:pt x="9068" y="3583"/>
                  <a:pt x="9047" y="3577"/>
                  <a:pt x="9037" y="3581"/>
                </a:cubicBezTo>
                <a:cubicBezTo>
                  <a:pt x="9027" y="3585"/>
                  <a:pt x="9014" y="3600"/>
                  <a:pt x="9010" y="3600"/>
                </a:cubicBezTo>
                <a:cubicBezTo>
                  <a:pt x="9006" y="3600"/>
                  <a:pt x="8996" y="3588"/>
                  <a:pt x="8988" y="3589"/>
                </a:cubicBezTo>
                <a:cubicBezTo>
                  <a:pt x="8980" y="3590"/>
                  <a:pt x="8953" y="3618"/>
                  <a:pt x="8944" y="3619"/>
                </a:cubicBezTo>
                <a:cubicBezTo>
                  <a:pt x="8935" y="3620"/>
                  <a:pt x="8927" y="3604"/>
                  <a:pt x="8913" y="3608"/>
                </a:cubicBezTo>
                <a:cubicBezTo>
                  <a:pt x="8899" y="3612"/>
                  <a:pt x="8881" y="3629"/>
                  <a:pt x="8873" y="3630"/>
                </a:cubicBezTo>
                <a:cubicBezTo>
                  <a:pt x="8865" y="3631"/>
                  <a:pt x="8833" y="3631"/>
                  <a:pt x="8833" y="3631"/>
                </a:cubicBezTo>
                <a:cubicBezTo>
                  <a:pt x="8833" y="3631"/>
                  <a:pt x="8803" y="3604"/>
                  <a:pt x="8803" y="3594"/>
                </a:cubicBezTo>
                <a:cubicBezTo>
                  <a:pt x="8803" y="3586"/>
                  <a:pt x="8794" y="3582"/>
                  <a:pt x="8791" y="3581"/>
                </a:cubicBezTo>
                <a:cubicBezTo>
                  <a:pt x="8790" y="3581"/>
                  <a:pt x="8790" y="3581"/>
                  <a:pt x="8790" y="3581"/>
                </a:cubicBezTo>
                <a:cubicBezTo>
                  <a:pt x="8783" y="3571"/>
                  <a:pt x="8783" y="3571"/>
                  <a:pt x="8783" y="3571"/>
                </a:cubicBezTo>
                <a:cubicBezTo>
                  <a:pt x="8760" y="3573"/>
                  <a:pt x="8760" y="3573"/>
                  <a:pt x="8760" y="3573"/>
                </a:cubicBezTo>
                <a:cubicBezTo>
                  <a:pt x="8760" y="3573"/>
                  <a:pt x="8801" y="3540"/>
                  <a:pt x="8792" y="3527"/>
                </a:cubicBezTo>
                <a:cubicBezTo>
                  <a:pt x="8789" y="3522"/>
                  <a:pt x="8784" y="3516"/>
                  <a:pt x="8779" y="3510"/>
                </a:cubicBezTo>
                <a:cubicBezTo>
                  <a:pt x="8771" y="3500"/>
                  <a:pt x="8763" y="3491"/>
                  <a:pt x="8763" y="3491"/>
                </a:cubicBezTo>
                <a:cubicBezTo>
                  <a:pt x="8763" y="3491"/>
                  <a:pt x="8746" y="3494"/>
                  <a:pt x="8744" y="3487"/>
                </a:cubicBezTo>
                <a:cubicBezTo>
                  <a:pt x="8742" y="3480"/>
                  <a:pt x="8742" y="3462"/>
                  <a:pt x="8742" y="3462"/>
                </a:cubicBezTo>
                <a:cubicBezTo>
                  <a:pt x="8742" y="3462"/>
                  <a:pt x="8703" y="3448"/>
                  <a:pt x="8700" y="3439"/>
                </a:cubicBezTo>
                <a:cubicBezTo>
                  <a:pt x="8697" y="3430"/>
                  <a:pt x="8697" y="3408"/>
                  <a:pt x="8690" y="3404"/>
                </a:cubicBezTo>
                <a:cubicBezTo>
                  <a:pt x="8683" y="3400"/>
                  <a:pt x="8666" y="3404"/>
                  <a:pt x="8663" y="3400"/>
                </a:cubicBezTo>
                <a:cubicBezTo>
                  <a:pt x="8660" y="3396"/>
                  <a:pt x="8649" y="3382"/>
                  <a:pt x="8649" y="3382"/>
                </a:cubicBezTo>
                <a:cubicBezTo>
                  <a:pt x="8636" y="3388"/>
                  <a:pt x="8636" y="3388"/>
                  <a:pt x="8636" y="3388"/>
                </a:cubicBezTo>
                <a:cubicBezTo>
                  <a:pt x="8628" y="3375"/>
                  <a:pt x="8628" y="3375"/>
                  <a:pt x="8628" y="3375"/>
                </a:cubicBezTo>
                <a:cubicBezTo>
                  <a:pt x="8616" y="3372"/>
                  <a:pt x="8616" y="3372"/>
                  <a:pt x="8616" y="3372"/>
                </a:cubicBezTo>
                <a:cubicBezTo>
                  <a:pt x="8616" y="3372"/>
                  <a:pt x="8596" y="3352"/>
                  <a:pt x="8593" y="3340"/>
                </a:cubicBezTo>
                <a:cubicBezTo>
                  <a:pt x="8590" y="3328"/>
                  <a:pt x="8594" y="3308"/>
                  <a:pt x="8587" y="3285"/>
                </a:cubicBezTo>
                <a:cubicBezTo>
                  <a:pt x="8580" y="3262"/>
                  <a:pt x="8559" y="3224"/>
                  <a:pt x="8559" y="3224"/>
                </a:cubicBezTo>
                <a:cubicBezTo>
                  <a:pt x="8557" y="3223"/>
                  <a:pt x="8557" y="3223"/>
                  <a:pt x="8557" y="3223"/>
                </a:cubicBezTo>
                <a:cubicBezTo>
                  <a:pt x="8532" y="3208"/>
                  <a:pt x="8532" y="3208"/>
                  <a:pt x="8532" y="3208"/>
                </a:cubicBezTo>
                <a:cubicBezTo>
                  <a:pt x="8532" y="3208"/>
                  <a:pt x="8529" y="3192"/>
                  <a:pt x="8523" y="3188"/>
                </a:cubicBezTo>
                <a:cubicBezTo>
                  <a:pt x="8517" y="3184"/>
                  <a:pt x="8502" y="3194"/>
                  <a:pt x="8498" y="3180"/>
                </a:cubicBezTo>
                <a:cubicBezTo>
                  <a:pt x="8494" y="3166"/>
                  <a:pt x="8493" y="3128"/>
                  <a:pt x="8493" y="3128"/>
                </a:cubicBezTo>
                <a:cubicBezTo>
                  <a:pt x="8486" y="3126"/>
                  <a:pt x="8486" y="3126"/>
                  <a:pt x="8486" y="3126"/>
                </a:cubicBezTo>
                <a:cubicBezTo>
                  <a:pt x="8486" y="3126"/>
                  <a:pt x="8484" y="3084"/>
                  <a:pt x="8484" y="3079"/>
                </a:cubicBezTo>
                <a:cubicBezTo>
                  <a:pt x="8484" y="3074"/>
                  <a:pt x="8479" y="3063"/>
                  <a:pt x="8479" y="3063"/>
                </a:cubicBezTo>
                <a:cubicBezTo>
                  <a:pt x="8491" y="3060"/>
                  <a:pt x="8491" y="3060"/>
                  <a:pt x="8491" y="3060"/>
                </a:cubicBezTo>
                <a:cubicBezTo>
                  <a:pt x="8491" y="3060"/>
                  <a:pt x="8473" y="3045"/>
                  <a:pt x="8472" y="3036"/>
                </a:cubicBezTo>
                <a:cubicBezTo>
                  <a:pt x="8471" y="3027"/>
                  <a:pt x="8477" y="3011"/>
                  <a:pt x="8469" y="3005"/>
                </a:cubicBezTo>
                <a:cubicBezTo>
                  <a:pt x="8461" y="2999"/>
                  <a:pt x="8450" y="2991"/>
                  <a:pt x="8450" y="2991"/>
                </a:cubicBezTo>
                <a:cubicBezTo>
                  <a:pt x="8450" y="2991"/>
                  <a:pt x="8441" y="2979"/>
                  <a:pt x="8437" y="2975"/>
                </a:cubicBezTo>
                <a:cubicBezTo>
                  <a:pt x="8433" y="2971"/>
                  <a:pt x="8432" y="2978"/>
                  <a:pt x="8426" y="2974"/>
                </a:cubicBezTo>
                <a:cubicBezTo>
                  <a:pt x="8422" y="2971"/>
                  <a:pt x="8415" y="2962"/>
                  <a:pt x="8410" y="2952"/>
                </a:cubicBezTo>
                <a:cubicBezTo>
                  <a:pt x="8407" y="2946"/>
                  <a:pt x="8405" y="2940"/>
                  <a:pt x="8405" y="2935"/>
                </a:cubicBezTo>
                <a:cubicBezTo>
                  <a:pt x="8404" y="2920"/>
                  <a:pt x="8403" y="2906"/>
                  <a:pt x="8403" y="2906"/>
                </a:cubicBezTo>
                <a:cubicBezTo>
                  <a:pt x="8415" y="2905"/>
                  <a:pt x="8415" y="2905"/>
                  <a:pt x="8415" y="2905"/>
                </a:cubicBezTo>
                <a:cubicBezTo>
                  <a:pt x="8415" y="2905"/>
                  <a:pt x="8388" y="2887"/>
                  <a:pt x="8375" y="2859"/>
                </a:cubicBezTo>
                <a:cubicBezTo>
                  <a:pt x="8362" y="2831"/>
                  <a:pt x="8363" y="2816"/>
                  <a:pt x="8354" y="2805"/>
                </a:cubicBezTo>
                <a:cubicBezTo>
                  <a:pt x="8345" y="2794"/>
                  <a:pt x="8341" y="2792"/>
                  <a:pt x="8333" y="2778"/>
                </a:cubicBezTo>
                <a:cubicBezTo>
                  <a:pt x="8325" y="2764"/>
                  <a:pt x="8325" y="2742"/>
                  <a:pt x="8325" y="2742"/>
                </a:cubicBezTo>
                <a:cubicBezTo>
                  <a:pt x="8300" y="2715"/>
                  <a:pt x="8300" y="2715"/>
                  <a:pt x="8300" y="2715"/>
                </a:cubicBezTo>
                <a:cubicBezTo>
                  <a:pt x="8300" y="2715"/>
                  <a:pt x="8303" y="2706"/>
                  <a:pt x="8297" y="2694"/>
                </a:cubicBezTo>
                <a:cubicBezTo>
                  <a:pt x="8291" y="2682"/>
                  <a:pt x="8265" y="2660"/>
                  <a:pt x="8263" y="2651"/>
                </a:cubicBezTo>
                <a:cubicBezTo>
                  <a:pt x="8261" y="2642"/>
                  <a:pt x="8253" y="2637"/>
                  <a:pt x="8253" y="2637"/>
                </a:cubicBezTo>
                <a:cubicBezTo>
                  <a:pt x="8253" y="2637"/>
                  <a:pt x="8261" y="2627"/>
                  <a:pt x="8253" y="2616"/>
                </a:cubicBezTo>
                <a:cubicBezTo>
                  <a:pt x="8245" y="2605"/>
                  <a:pt x="8235" y="2602"/>
                  <a:pt x="8235" y="2602"/>
                </a:cubicBezTo>
                <a:cubicBezTo>
                  <a:pt x="8246" y="2589"/>
                  <a:pt x="8246" y="2589"/>
                  <a:pt x="8246" y="2589"/>
                </a:cubicBezTo>
                <a:cubicBezTo>
                  <a:pt x="8258" y="2597"/>
                  <a:pt x="8258" y="2597"/>
                  <a:pt x="8258" y="2597"/>
                </a:cubicBezTo>
                <a:cubicBezTo>
                  <a:pt x="8258" y="2597"/>
                  <a:pt x="8257" y="2614"/>
                  <a:pt x="8266" y="2620"/>
                </a:cubicBezTo>
                <a:cubicBezTo>
                  <a:pt x="8275" y="2626"/>
                  <a:pt x="8280" y="2635"/>
                  <a:pt x="8280" y="2635"/>
                </a:cubicBezTo>
                <a:cubicBezTo>
                  <a:pt x="8279" y="2652"/>
                  <a:pt x="8279" y="2652"/>
                  <a:pt x="8279" y="2652"/>
                </a:cubicBezTo>
                <a:cubicBezTo>
                  <a:pt x="8279" y="2652"/>
                  <a:pt x="8311" y="2704"/>
                  <a:pt x="8323" y="2697"/>
                </a:cubicBezTo>
                <a:cubicBezTo>
                  <a:pt x="8335" y="2690"/>
                  <a:pt x="8341" y="2685"/>
                  <a:pt x="8341" y="2685"/>
                </a:cubicBezTo>
                <a:cubicBezTo>
                  <a:pt x="8334" y="2673"/>
                  <a:pt x="8334" y="2673"/>
                  <a:pt x="8334" y="2673"/>
                </a:cubicBezTo>
                <a:cubicBezTo>
                  <a:pt x="8334" y="2673"/>
                  <a:pt x="8347" y="2647"/>
                  <a:pt x="8347" y="2633"/>
                </a:cubicBezTo>
                <a:cubicBezTo>
                  <a:pt x="8347" y="2619"/>
                  <a:pt x="8356" y="2602"/>
                  <a:pt x="8356" y="2602"/>
                </a:cubicBezTo>
                <a:cubicBezTo>
                  <a:pt x="8361" y="2612"/>
                  <a:pt x="8361" y="2612"/>
                  <a:pt x="8361" y="2612"/>
                </a:cubicBezTo>
                <a:cubicBezTo>
                  <a:pt x="8363" y="2618"/>
                  <a:pt x="8363" y="2618"/>
                  <a:pt x="8363" y="2618"/>
                </a:cubicBezTo>
                <a:cubicBezTo>
                  <a:pt x="8363" y="2618"/>
                  <a:pt x="8364" y="2618"/>
                  <a:pt x="8364" y="2618"/>
                </a:cubicBezTo>
                <a:cubicBezTo>
                  <a:pt x="8358" y="2619"/>
                  <a:pt x="8358" y="2623"/>
                  <a:pt x="8358" y="2624"/>
                </a:cubicBezTo>
                <a:cubicBezTo>
                  <a:pt x="8358" y="2624"/>
                  <a:pt x="8358" y="2624"/>
                  <a:pt x="8358" y="2624"/>
                </a:cubicBezTo>
                <a:cubicBezTo>
                  <a:pt x="8358" y="2633"/>
                  <a:pt x="8346" y="2700"/>
                  <a:pt x="8358" y="2712"/>
                </a:cubicBezTo>
                <a:cubicBezTo>
                  <a:pt x="8370" y="2723"/>
                  <a:pt x="8395" y="2723"/>
                  <a:pt x="8400" y="2737"/>
                </a:cubicBezTo>
                <a:cubicBezTo>
                  <a:pt x="8406" y="2751"/>
                  <a:pt x="8422" y="2788"/>
                  <a:pt x="8431" y="2797"/>
                </a:cubicBezTo>
                <a:cubicBezTo>
                  <a:pt x="8440" y="2806"/>
                  <a:pt x="8459" y="2821"/>
                  <a:pt x="8466" y="2833"/>
                </a:cubicBezTo>
                <a:cubicBezTo>
                  <a:pt x="8474" y="2846"/>
                  <a:pt x="8478" y="2884"/>
                  <a:pt x="8491" y="2896"/>
                </a:cubicBezTo>
                <a:cubicBezTo>
                  <a:pt x="8503" y="2908"/>
                  <a:pt x="8530" y="2897"/>
                  <a:pt x="8547" y="2916"/>
                </a:cubicBezTo>
                <a:cubicBezTo>
                  <a:pt x="8564" y="2935"/>
                  <a:pt x="8578" y="2994"/>
                  <a:pt x="8578" y="3023"/>
                </a:cubicBezTo>
                <a:cubicBezTo>
                  <a:pt x="8578" y="3053"/>
                  <a:pt x="8613" y="3089"/>
                  <a:pt x="8613" y="3089"/>
                </a:cubicBezTo>
                <a:cubicBezTo>
                  <a:pt x="8613" y="3089"/>
                  <a:pt x="8637" y="3086"/>
                  <a:pt x="8646" y="3094"/>
                </a:cubicBezTo>
                <a:cubicBezTo>
                  <a:pt x="8654" y="3102"/>
                  <a:pt x="8690" y="3167"/>
                  <a:pt x="8704" y="3191"/>
                </a:cubicBezTo>
                <a:cubicBezTo>
                  <a:pt x="8718" y="3215"/>
                  <a:pt x="8766" y="3273"/>
                  <a:pt x="8765" y="3289"/>
                </a:cubicBezTo>
                <a:cubicBezTo>
                  <a:pt x="8765" y="3296"/>
                  <a:pt x="8763" y="3305"/>
                  <a:pt x="8760" y="3314"/>
                </a:cubicBezTo>
                <a:cubicBezTo>
                  <a:pt x="8758" y="3323"/>
                  <a:pt x="8755" y="3332"/>
                  <a:pt x="8754" y="3337"/>
                </a:cubicBezTo>
                <a:cubicBezTo>
                  <a:pt x="8752" y="3347"/>
                  <a:pt x="8776" y="3366"/>
                  <a:pt x="8776" y="3366"/>
                </a:cubicBezTo>
                <a:cubicBezTo>
                  <a:pt x="8767" y="3443"/>
                  <a:pt x="8767" y="3443"/>
                  <a:pt x="8767" y="3443"/>
                </a:cubicBezTo>
                <a:cubicBezTo>
                  <a:pt x="8788" y="3465"/>
                  <a:pt x="8788" y="3465"/>
                  <a:pt x="8788" y="3465"/>
                </a:cubicBezTo>
                <a:cubicBezTo>
                  <a:pt x="8788" y="3465"/>
                  <a:pt x="8793" y="3494"/>
                  <a:pt x="8812" y="3498"/>
                </a:cubicBezTo>
                <a:cubicBezTo>
                  <a:pt x="8831" y="3503"/>
                  <a:pt x="8846" y="3502"/>
                  <a:pt x="8858" y="3494"/>
                </a:cubicBezTo>
                <a:cubicBezTo>
                  <a:pt x="8870" y="3486"/>
                  <a:pt x="8874" y="3460"/>
                  <a:pt x="8885" y="3460"/>
                </a:cubicBezTo>
                <a:cubicBezTo>
                  <a:pt x="8897" y="3459"/>
                  <a:pt x="8912" y="3466"/>
                  <a:pt x="8934" y="3463"/>
                </a:cubicBezTo>
                <a:cubicBezTo>
                  <a:pt x="8956" y="3460"/>
                  <a:pt x="8982" y="3455"/>
                  <a:pt x="8995" y="3455"/>
                </a:cubicBezTo>
                <a:cubicBezTo>
                  <a:pt x="9008" y="3456"/>
                  <a:pt x="9029" y="3422"/>
                  <a:pt x="9044" y="3416"/>
                </a:cubicBezTo>
                <a:cubicBezTo>
                  <a:pt x="9060" y="3411"/>
                  <a:pt x="9068" y="3391"/>
                  <a:pt x="9086" y="3386"/>
                </a:cubicBezTo>
                <a:cubicBezTo>
                  <a:pt x="9104" y="3380"/>
                  <a:pt x="9149" y="3354"/>
                  <a:pt x="9149" y="3354"/>
                </a:cubicBezTo>
                <a:cubicBezTo>
                  <a:pt x="9198" y="3353"/>
                  <a:pt x="9198" y="3353"/>
                  <a:pt x="9198" y="3353"/>
                </a:cubicBezTo>
                <a:cubicBezTo>
                  <a:pt x="9198" y="3353"/>
                  <a:pt x="9218" y="3308"/>
                  <a:pt x="9231" y="3298"/>
                </a:cubicBezTo>
                <a:cubicBezTo>
                  <a:pt x="9232" y="3296"/>
                  <a:pt x="9235" y="3295"/>
                  <a:pt x="9239" y="3293"/>
                </a:cubicBezTo>
                <a:cubicBezTo>
                  <a:pt x="9266" y="3282"/>
                  <a:pt x="9344" y="3263"/>
                  <a:pt x="9347" y="3258"/>
                </a:cubicBezTo>
                <a:cubicBezTo>
                  <a:pt x="9352" y="3252"/>
                  <a:pt x="9354" y="3223"/>
                  <a:pt x="9354" y="3223"/>
                </a:cubicBezTo>
                <a:cubicBezTo>
                  <a:pt x="9354" y="3223"/>
                  <a:pt x="9396" y="3217"/>
                  <a:pt x="9405" y="3206"/>
                </a:cubicBezTo>
                <a:cubicBezTo>
                  <a:pt x="9413" y="3196"/>
                  <a:pt x="9413" y="3178"/>
                  <a:pt x="9413" y="3178"/>
                </a:cubicBezTo>
                <a:cubicBezTo>
                  <a:pt x="9413" y="3178"/>
                  <a:pt x="9445" y="3167"/>
                  <a:pt x="9454" y="3152"/>
                </a:cubicBezTo>
                <a:cubicBezTo>
                  <a:pt x="9464" y="3136"/>
                  <a:pt x="9459" y="3098"/>
                  <a:pt x="9468" y="3097"/>
                </a:cubicBezTo>
                <a:cubicBezTo>
                  <a:pt x="9477" y="3096"/>
                  <a:pt x="9487" y="3108"/>
                  <a:pt x="9497" y="3097"/>
                </a:cubicBezTo>
                <a:cubicBezTo>
                  <a:pt x="9508" y="3086"/>
                  <a:pt x="9503" y="3066"/>
                  <a:pt x="9503" y="3066"/>
                </a:cubicBezTo>
                <a:cubicBezTo>
                  <a:pt x="9540" y="3032"/>
                  <a:pt x="9540" y="3032"/>
                  <a:pt x="9540" y="3032"/>
                </a:cubicBezTo>
                <a:cubicBezTo>
                  <a:pt x="9540" y="3032"/>
                  <a:pt x="9549" y="2992"/>
                  <a:pt x="9544" y="2982"/>
                </a:cubicBezTo>
                <a:cubicBezTo>
                  <a:pt x="9540" y="2972"/>
                  <a:pt x="9524" y="2975"/>
                  <a:pt x="9524" y="2975"/>
                </a:cubicBezTo>
                <a:cubicBezTo>
                  <a:pt x="9524" y="2975"/>
                  <a:pt x="9502" y="2935"/>
                  <a:pt x="9487" y="2922"/>
                </a:cubicBezTo>
                <a:cubicBezTo>
                  <a:pt x="9472" y="2909"/>
                  <a:pt x="9422" y="2900"/>
                  <a:pt x="9422" y="2900"/>
                </a:cubicBezTo>
                <a:cubicBezTo>
                  <a:pt x="9422" y="2900"/>
                  <a:pt x="9379" y="2886"/>
                  <a:pt x="9376" y="2871"/>
                </a:cubicBezTo>
                <a:cubicBezTo>
                  <a:pt x="9375" y="2866"/>
                  <a:pt x="9372" y="2861"/>
                  <a:pt x="9369" y="2855"/>
                </a:cubicBezTo>
                <a:cubicBezTo>
                  <a:pt x="9364" y="2842"/>
                  <a:pt x="9357" y="2827"/>
                  <a:pt x="9359" y="2815"/>
                </a:cubicBezTo>
                <a:cubicBezTo>
                  <a:pt x="9362" y="2798"/>
                  <a:pt x="9367" y="2770"/>
                  <a:pt x="9360" y="2767"/>
                </a:cubicBezTo>
                <a:cubicBezTo>
                  <a:pt x="9352" y="2764"/>
                  <a:pt x="9331" y="2815"/>
                  <a:pt x="9331" y="2815"/>
                </a:cubicBezTo>
                <a:cubicBezTo>
                  <a:pt x="9331" y="2815"/>
                  <a:pt x="9317" y="2817"/>
                  <a:pt x="9311" y="2825"/>
                </a:cubicBezTo>
                <a:cubicBezTo>
                  <a:pt x="9306" y="2834"/>
                  <a:pt x="9276" y="2866"/>
                  <a:pt x="9276" y="2866"/>
                </a:cubicBezTo>
                <a:cubicBezTo>
                  <a:pt x="9276" y="2866"/>
                  <a:pt x="9276" y="2894"/>
                  <a:pt x="9267" y="2895"/>
                </a:cubicBezTo>
                <a:cubicBezTo>
                  <a:pt x="9258" y="2896"/>
                  <a:pt x="9214" y="2891"/>
                  <a:pt x="9207" y="2891"/>
                </a:cubicBezTo>
                <a:cubicBezTo>
                  <a:pt x="9201" y="2891"/>
                  <a:pt x="9170" y="2908"/>
                  <a:pt x="9161" y="2904"/>
                </a:cubicBezTo>
                <a:cubicBezTo>
                  <a:pt x="9156" y="2902"/>
                  <a:pt x="9150" y="2896"/>
                  <a:pt x="9146" y="2891"/>
                </a:cubicBezTo>
                <a:cubicBezTo>
                  <a:pt x="9146" y="2891"/>
                  <a:pt x="9146" y="2891"/>
                  <a:pt x="9146" y="2891"/>
                </a:cubicBezTo>
                <a:cubicBezTo>
                  <a:pt x="9142" y="2886"/>
                  <a:pt x="9139" y="2880"/>
                  <a:pt x="9140" y="2876"/>
                </a:cubicBezTo>
                <a:cubicBezTo>
                  <a:pt x="9140" y="2876"/>
                  <a:pt x="9140" y="2875"/>
                  <a:pt x="9140" y="2875"/>
                </a:cubicBezTo>
                <a:cubicBezTo>
                  <a:pt x="9145" y="2866"/>
                  <a:pt x="9159" y="2836"/>
                  <a:pt x="9157" y="2815"/>
                </a:cubicBezTo>
                <a:cubicBezTo>
                  <a:pt x="9155" y="2794"/>
                  <a:pt x="9141" y="2780"/>
                  <a:pt x="9132" y="2783"/>
                </a:cubicBezTo>
                <a:cubicBezTo>
                  <a:pt x="9122" y="2786"/>
                  <a:pt x="9120" y="2812"/>
                  <a:pt x="9119" y="2827"/>
                </a:cubicBezTo>
                <a:cubicBezTo>
                  <a:pt x="9119" y="2842"/>
                  <a:pt x="9119" y="2863"/>
                  <a:pt x="9111" y="2864"/>
                </a:cubicBezTo>
                <a:cubicBezTo>
                  <a:pt x="9111" y="2864"/>
                  <a:pt x="9111" y="2864"/>
                  <a:pt x="9110" y="2863"/>
                </a:cubicBezTo>
                <a:cubicBezTo>
                  <a:pt x="9103" y="2861"/>
                  <a:pt x="9096" y="2822"/>
                  <a:pt x="9090" y="2817"/>
                </a:cubicBezTo>
                <a:cubicBezTo>
                  <a:pt x="9084" y="2812"/>
                  <a:pt x="9068" y="2809"/>
                  <a:pt x="9065" y="2795"/>
                </a:cubicBezTo>
                <a:cubicBezTo>
                  <a:pt x="9061" y="2781"/>
                  <a:pt x="9066" y="2759"/>
                  <a:pt x="9053" y="2749"/>
                </a:cubicBezTo>
                <a:cubicBezTo>
                  <a:pt x="9039" y="2738"/>
                  <a:pt x="9021" y="2740"/>
                  <a:pt x="9015" y="2728"/>
                </a:cubicBezTo>
                <a:cubicBezTo>
                  <a:pt x="9009" y="2715"/>
                  <a:pt x="9016" y="2702"/>
                  <a:pt x="9010" y="2698"/>
                </a:cubicBezTo>
                <a:cubicBezTo>
                  <a:pt x="9004" y="2694"/>
                  <a:pt x="8992" y="2681"/>
                  <a:pt x="8992" y="2681"/>
                </a:cubicBezTo>
                <a:cubicBezTo>
                  <a:pt x="8991" y="2664"/>
                  <a:pt x="8991" y="2664"/>
                  <a:pt x="8991" y="2664"/>
                </a:cubicBezTo>
                <a:cubicBezTo>
                  <a:pt x="8991" y="2664"/>
                  <a:pt x="8988" y="2661"/>
                  <a:pt x="8983" y="2658"/>
                </a:cubicBezTo>
                <a:cubicBezTo>
                  <a:pt x="8973" y="2650"/>
                  <a:pt x="8957" y="2636"/>
                  <a:pt x="8958" y="2625"/>
                </a:cubicBezTo>
                <a:cubicBezTo>
                  <a:pt x="8958" y="2625"/>
                  <a:pt x="8958" y="2625"/>
                  <a:pt x="8958" y="2624"/>
                </a:cubicBezTo>
                <a:cubicBezTo>
                  <a:pt x="8950" y="2619"/>
                  <a:pt x="8950" y="2619"/>
                  <a:pt x="8950" y="2619"/>
                </a:cubicBezTo>
                <a:cubicBezTo>
                  <a:pt x="8949" y="2605"/>
                  <a:pt x="8949" y="2605"/>
                  <a:pt x="8949" y="2605"/>
                </a:cubicBezTo>
                <a:cubicBezTo>
                  <a:pt x="8949" y="2605"/>
                  <a:pt x="8963" y="2603"/>
                  <a:pt x="8967" y="2603"/>
                </a:cubicBezTo>
                <a:cubicBezTo>
                  <a:pt x="8971" y="2603"/>
                  <a:pt x="8971" y="2594"/>
                  <a:pt x="8971" y="2594"/>
                </a:cubicBezTo>
                <a:cubicBezTo>
                  <a:pt x="8971" y="2594"/>
                  <a:pt x="8971" y="2586"/>
                  <a:pt x="8962" y="2586"/>
                </a:cubicBezTo>
                <a:cubicBezTo>
                  <a:pt x="8953" y="2586"/>
                  <a:pt x="8953" y="2591"/>
                  <a:pt x="8953" y="2591"/>
                </a:cubicBezTo>
                <a:cubicBezTo>
                  <a:pt x="8949" y="2578"/>
                  <a:pt x="8949" y="2578"/>
                  <a:pt x="8949" y="2578"/>
                </a:cubicBezTo>
                <a:cubicBezTo>
                  <a:pt x="8951" y="2583"/>
                  <a:pt x="8951" y="2583"/>
                  <a:pt x="8951" y="2583"/>
                </a:cubicBezTo>
                <a:cubicBezTo>
                  <a:pt x="8969" y="2577"/>
                  <a:pt x="8969" y="2577"/>
                  <a:pt x="8969" y="2577"/>
                </a:cubicBezTo>
                <a:cubicBezTo>
                  <a:pt x="8972" y="2572"/>
                  <a:pt x="8972" y="2572"/>
                  <a:pt x="8972" y="2572"/>
                </a:cubicBezTo>
                <a:cubicBezTo>
                  <a:pt x="8972" y="2572"/>
                  <a:pt x="8972" y="2572"/>
                  <a:pt x="8972" y="2572"/>
                </a:cubicBezTo>
                <a:cubicBezTo>
                  <a:pt x="8979" y="2579"/>
                  <a:pt x="8990" y="2584"/>
                  <a:pt x="8995" y="2581"/>
                </a:cubicBezTo>
                <a:cubicBezTo>
                  <a:pt x="9002" y="2576"/>
                  <a:pt x="8980" y="2565"/>
                  <a:pt x="8996" y="2558"/>
                </a:cubicBezTo>
                <a:cubicBezTo>
                  <a:pt x="9012" y="2551"/>
                  <a:pt x="9011" y="2569"/>
                  <a:pt x="9011" y="2569"/>
                </a:cubicBezTo>
                <a:cubicBezTo>
                  <a:pt x="9018" y="2575"/>
                  <a:pt x="9018" y="2575"/>
                  <a:pt x="9018" y="2575"/>
                </a:cubicBezTo>
                <a:cubicBezTo>
                  <a:pt x="9019" y="2574"/>
                  <a:pt x="9021" y="2574"/>
                  <a:pt x="9024" y="2575"/>
                </a:cubicBezTo>
                <a:cubicBezTo>
                  <a:pt x="9026" y="2576"/>
                  <a:pt x="9027" y="2576"/>
                  <a:pt x="9029" y="2577"/>
                </a:cubicBezTo>
                <a:cubicBezTo>
                  <a:pt x="9030" y="2576"/>
                  <a:pt x="9031" y="2574"/>
                  <a:pt x="9031" y="2573"/>
                </a:cubicBezTo>
                <a:cubicBezTo>
                  <a:pt x="9032" y="2569"/>
                  <a:pt x="9043" y="2566"/>
                  <a:pt x="9046" y="2568"/>
                </a:cubicBezTo>
                <a:cubicBezTo>
                  <a:pt x="9049" y="2570"/>
                  <a:pt x="9044" y="2591"/>
                  <a:pt x="9051" y="2594"/>
                </a:cubicBezTo>
                <a:cubicBezTo>
                  <a:pt x="9058" y="2597"/>
                  <a:pt x="9073" y="2608"/>
                  <a:pt x="9073" y="2608"/>
                </a:cubicBezTo>
                <a:cubicBezTo>
                  <a:pt x="9073" y="2608"/>
                  <a:pt x="9071" y="2613"/>
                  <a:pt x="9071" y="2618"/>
                </a:cubicBezTo>
                <a:cubicBezTo>
                  <a:pt x="9076" y="2624"/>
                  <a:pt x="9081" y="2630"/>
                  <a:pt x="9084" y="2636"/>
                </a:cubicBezTo>
                <a:cubicBezTo>
                  <a:pt x="9084" y="2636"/>
                  <a:pt x="9084" y="2636"/>
                  <a:pt x="9084" y="2636"/>
                </a:cubicBezTo>
                <a:cubicBezTo>
                  <a:pt x="9088" y="2638"/>
                  <a:pt x="9091" y="2640"/>
                  <a:pt x="9091" y="2640"/>
                </a:cubicBezTo>
                <a:cubicBezTo>
                  <a:pt x="9100" y="2653"/>
                  <a:pt x="9100" y="2653"/>
                  <a:pt x="9100" y="2653"/>
                </a:cubicBezTo>
                <a:cubicBezTo>
                  <a:pt x="9100" y="2653"/>
                  <a:pt x="9102" y="2677"/>
                  <a:pt x="9112" y="2679"/>
                </a:cubicBezTo>
                <a:cubicBezTo>
                  <a:pt x="9122" y="2681"/>
                  <a:pt x="9122" y="2697"/>
                  <a:pt x="9122" y="2697"/>
                </a:cubicBezTo>
                <a:cubicBezTo>
                  <a:pt x="9144" y="2697"/>
                  <a:pt x="9144" y="2697"/>
                  <a:pt x="9144" y="2697"/>
                </a:cubicBezTo>
                <a:cubicBezTo>
                  <a:pt x="9156" y="2709"/>
                  <a:pt x="9156" y="2709"/>
                  <a:pt x="9156" y="2709"/>
                </a:cubicBezTo>
                <a:cubicBezTo>
                  <a:pt x="9164" y="2707"/>
                  <a:pt x="9171" y="2705"/>
                  <a:pt x="9178" y="2709"/>
                </a:cubicBezTo>
                <a:cubicBezTo>
                  <a:pt x="9188" y="2714"/>
                  <a:pt x="9217" y="2739"/>
                  <a:pt x="9239" y="2756"/>
                </a:cubicBezTo>
                <a:cubicBezTo>
                  <a:pt x="9240" y="2757"/>
                  <a:pt x="9241" y="2757"/>
                  <a:pt x="9242" y="2757"/>
                </a:cubicBezTo>
                <a:cubicBezTo>
                  <a:pt x="9248" y="2757"/>
                  <a:pt x="9259" y="2759"/>
                  <a:pt x="9259" y="2759"/>
                </a:cubicBezTo>
                <a:cubicBezTo>
                  <a:pt x="9259" y="2759"/>
                  <a:pt x="9262" y="2773"/>
                  <a:pt x="9278" y="2768"/>
                </a:cubicBezTo>
                <a:cubicBezTo>
                  <a:pt x="9294" y="2763"/>
                  <a:pt x="9297" y="2756"/>
                  <a:pt x="9297" y="2756"/>
                </a:cubicBezTo>
                <a:cubicBezTo>
                  <a:pt x="9313" y="2758"/>
                  <a:pt x="9313" y="2758"/>
                  <a:pt x="9313" y="2758"/>
                </a:cubicBezTo>
                <a:cubicBezTo>
                  <a:pt x="9319" y="2744"/>
                  <a:pt x="9319" y="2744"/>
                  <a:pt x="9319" y="2744"/>
                </a:cubicBezTo>
                <a:cubicBezTo>
                  <a:pt x="9333" y="2742"/>
                  <a:pt x="9333" y="2742"/>
                  <a:pt x="9333" y="2742"/>
                </a:cubicBezTo>
                <a:cubicBezTo>
                  <a:pt x="9349" y="2727"/>
                  <a:pt x="9349" y="2727"/>
                  <a:pt x="9349" y="2727"/>
                </a:cubicBezTo>
                <a:cubicBezTo>
                  <a:pt x="9354" y="2735"/>
                  <a:pt x="9354" y="2735"/>
                  <a:pt x="9354" y="2735"/>
                </a:cubicBezTo>
                <a:cubicBezTo>
                  <a:pt x="9362" y="2733"/>
                  <a:pt x="9369" y="2732"/>
                  <a:pt x="9372" y="2736"/>
                </a:cubicBezTo>
                <a:cubicBezTo>
                  <a:pt x="9385" y="2747"/>
                  <a:pt x="9399" y="2770"/>
                  <a:pt x="9401" y="2788"/>
                </a:cubicBezTo>
                <a:cubicBezTo>
                  <a:pt x="9403" y="2807"/>
                  <a:pt x="9431" y="2805"/>
                  <a:pt x="9431" y="2805"/>
                </a:cubicBezTo>
                <a:cubicBezTo>
                  <a:pt x="9431" y="2805"/>
                  <a:pt x="9430" y="2812"/>
                  <a:pt x="9443" y="2815"/>
                </a:cubicBezTo>
                <a:cubicBezTo>
                  <a:pt x="9456" y="2818"/>
                  <a:pt x="9487" y="2814"/>
                  <a:pt x="9487" y="2814"/>
                </a:cubicBezTo>
                <a:cubicBezTo>
                  <a:pt x="9487" y="2814"/>
                  <a:pt x="9513" y="2834"/>
                  <a:pt x="9518" y="2834"/>
                </a:cubicBezTo>
                <a:cubicBezTo>
                  <a:pt x="9523" y="2834"/>
                  <a:pt x="9541" y="2825"/>
                  <a:pt x="9541" y="2825"/>
                </a:cubicBezTo>
                <a:cubicBezTo>
                  <a:pt x="9541" y="2825"/>
                  <a:pt x="9567" y="2841"/>
                  <a:pt x="9585" y="2842"/>
                </a:cubicBezTo>
                <a:cubicBezTo>
                  <a:pt x="9591" y="2842"/>
                  <a:pt x="9597" y="2841"/>
                  <a:pt x="9602" y="2839"/>
                </a:cubicBezTo>
                <a:cubicBezTo>
                  <a:pt x="9603" y="2839"/>
                  <a:pt x="9603" y="2839"/>
                  <a:pt x="9603" y="2839"/>
                </a:cubicBezTo>
                <a:cubicBezTo>
                  <a:pt x="9613" y="2835"/>
                  <a:pt x="9621" y="2830"/>
                  <a:pt x="9621" y="2830"/>
                </a:cubicBezTo>
                <a:cubicBezTo>
                  <a:pt x="9621" y="2830"/>
                  <a:pt x="9643" y="2837"/>
                  <a:pt x="9653" y="2837"/>
                </a:cubicBezTo>
                <a:cubicBezTo>
                  <a:pt x="9663" y="2838"/>
                  <a:pt x="9692" y="2822"/>
                  <a:pt x="9692" y="2822"/>
                </a:cubicBezTo>
                <a:cubicBezTo>
                  <a:pt x="9692" y="2822"/>
                  <a:pt x="9708" y="2830"/>
                  <a:pt x="9718" y="2828"/>
                </a:cubicBezTo>
                <a:cubicBezTo>
                  <a:pt x="9729" y="2826"/>
                  <a:pt x="9751" y="2817"/>
                  <a:pt x="9751" y="2817"/>
                </a:cubicBezTo>
                <a:cubicBezTo>
                  <a:pt x="9777" y="2824"/>
                  <a:pt x="9777" y="2824"/>
                  <a:pt x="9777" y="2824"/>
                </a:cubicBezTo>
                <a:cubicBezTo>
                  <a:pt x="9777" y="2824"/>
                  <a:pt x="9792" y="2803"/>
                  <a:pt x="9810" y="2815"/>
                </a:cubicBezTo>
                <a:cubicBezTo>
                  <a:pt x="9827" y="2826"/>
                  <a:pt x="9828" y="2861"/>
                  <a:pt x="9842" y="2864"/>
                </a:cubicBezTo>
                <a:cubicBezTo>
                  <a:pt x="9856" y="2867"/>
                  <a:pt x="9882" y="2867"/>
                  <a:pt x="9891" y="2876"/>
                </a:cubicBezTo>
                <a:cubicBezTo>
                  <a:pt x="9901" y="2885"/>
                  <a:pt x="9902" y="2906"/>
                  <a:pt x="9913" y="2907"/>
                </a:cubicBezTo>
                <a:cubicBezTo>
                  <a:pt x="9916" y="2907"/>
                  <a:pt x="9920" y="2907"/>
                  <a:pt x="9924" y="2907"/>
                </a:cubicBezTo>
                <a:cubicBezTo>
                  <a:pt x="9935" y="2908"/>
                  <a:pt x="9947" y="2908"/>
                  <a:pt x="9947" y="2908"/>
                </a:cubicBezTo>
                <a:cubicBezTo>
                  <a:pt x="9947" y="2908"/>
                  <a:pt x="9937" y="2932"/>
                  <a:pt x="9950" y="2941"/>
                </a:cubicBezTo>
                <a:cubicBezTo>
                  <a:pt x="9962" y="2951"/>
                  <a:pt x="9995" y="2954"/>
                  <a:pt x="10002" y="2952"/>
                </a:cubicBezTo>
                <a:cubicBezTo>
                  <a:pt x="10008" y="2950"/>
                  <a:pt x="10032" y="2933"/>
                  <a:pt x="10032" y="2933"/>
                </a:cubicBezTo>
                <a:cubicBezTo>
                  <a:pt x="10032" y="2933"/>
                  <a:pt x="10042" y="2945"/>
                  <a:pt x="10030" y="2956"/>
                </a:cubicBezTo>
                <a:cubicBezTo>
                  <a:pt x="10018" y="2967"/>
                  <a:pt x="9994" y="2974"/>
                  <a:pt x="9994" y="2974"/>
                </a:cubicBezTo>
                <a:cubicBezTo>
                  <a:pt x="9994" y="2974"/>
                  <a:pt x="9956" y="2979"/>
                  <a:pt x="9954" y="2990"/>
                </a:cubicBezTo>
                <a:cubicBezTo>
                  <a:pt x="9952" y="3001"/>
                  <a:pt x="9982" y="3025"/>
                  <a:pt x="9994" y="3034"/>
                </a:cubicBezTo>
                <a:cubicBezTo>
                  <a:pt x="10007" y="3043"/>
                  <a:pt x="10030" y="3071"/>
                  <a:pt x="10060" y="3073"/>
                </a:cubicBezTo>
                <a:cubicBezTo>
                  <a:pt x="10091" y="3076"/>
                  <a:pt x="10129" y="3049"/>
                  <a:pt x="10125" y="3030"/>
                </a:cubicBezTo>
                <a:cubicBezTo>
                  <a:pt x="10121" y="3012"/>
                  <a:pt x="10131" y="2997"/>
                  <a:pt x="10141" y="2988"/>
                </a:cubicBezTo>
                <a:cubicBezTo>
                  <a:pt x="10150" y="2978"/>
                  <a:pt x="10172" y="2973"/>
                  <a:pt x="10162" y="2990"/>
                </a:cubicBezTo>
                <a:cubicBezTo>
                  <a:pt x="10153" y="3007"/>
                  <a:pt x="10130" y="3022"/>
                  <a:pt x="10137" y="3036"/>
                </a:cubicBezTo>
                <a:cubicBezTo>
                  <a:pt x="10144" y="3050"/>
                  <a:pt x="10162" y="3048"/>
                  <a:pt x="10162" y="3063"/>
                </a:cubicBezTo>
                <a:cubicBezTo>
                  <a:pt x="10161" y="3077"/>
                  <a:pt x="10157" y="3093"/>
                  <a:pt x="10151" y="3116"/>
                </a:cubicBezTo>
                <a:cubicBezTo>
                  <a:pt x="10144" y="3140"/>
                  <a:pt x="10144" y="3162"/>
                  <a:pt x="10151" y="3191"/>
                </a:cubicBezTo>
                <a:cubicBezTo>
                  <a:pt x="10159" y="3219"/>
                  <a:pt x="10171" y="3269"/>
                  <a:pt x="10182" y="3284"/>
                </a:cubicBezTo>
                <a:cubicBezTo>
                  <a:pt x="10193" y="3300"/>
                  <a:pt x="10196" y="3294"/>
                  <a:pt x="10191" y="3317"/>
                </a:cubicBezTo>
                <a:cubicBezTo>
                  <a:pt x="10186" y="3340"/>
                  <a:pt x="10223" y="3347"/>
                  <a:pt x="10223" y="3347"/>
                </a:cubicBezTo>
                <a:cubicBezTo>
                  <a:pt x="10223" y="3347"/>
                  <a:pt x="10228" y="3379"/>
                  <a:pt x="10236" y="3390"/>
                </a:cubicBezTo>
                <a:cubicBezTo>
                  <a:pt x="10245" y="3402"/>
                  <a:pt x="10263" y="3411"/>
                  <a:pt x="10263" y="3411"/>
                </a:cubicBezTo>
                <a:cubicBezTo>
                  <a:pt x="10263" y="3411"/>
                  <a:pt x="10268" y="3477"/>
                  <a:pt x="10278" y="3507"/>
                </a:cubicBezTo>
                <a:cubicBezTo>
                  <a:pt x="10289" y="3537"/>
                  <a:pt x="10326" y="3578"/>
                  <a:pt x="10331" y="3590"/>
                </a:cubicBezTo>
                <a:cubicBezTo>
                  <a:pt x="10336" y="3603"/>
                  <a:pt x="10338" y="3629"/>
                  <a:pt x="10337" y="3641"/>
                </a:cubicBezTo>
                <a:cubicBezTo>
                  <a:pt x="10335" y="3653"/>
                  <a:pt x="10403" y="3757"/>
                  <a:pt x="10403" y="3757"/>
                </a:cubicBezTo>
                <a:cubicBezTo>
                  <a:pt x="10403" y="3757"/>
                  <a:pt x="10436" y="3748"/>
                  <a:pt x="10442" y="3739"/>
                </a:cubicBezTo>
                <a:cubicBezTo>
                  <a:pt x="10447" y="3729"/>
                  <a:pt x="10439" y="3707"/>
                  <a:pt x="10450" y="3700"/>
                </a:cubicBezTo>
                <a:cubicBezTo>
                  <a:pt x="10460" y="3693"/>
                  <a:pt x="10464" y="3701"/>
                  <a:pt x="10474" y="3698"/>
                </a:cubicBezTo>
                <a:cubicBezTo>
                  <a:pt x="10485" y="3695"/>
                  <a:pt x="10502" y="3682"/>
                  <a:pt x="10502" y="3682"/>
                </a:cubicBezTo>
                <a:cubicBezTo>
                  <a:pt x="10502" y="3682"/>
                  <a:pt x="10487" y="3686"/>
                  <a:pt x="10490" y="3669"/>
                </a:cubicBezTo>
                <a:cubicBezTo>
                  <a:pt x="10492" y="3652"/>
                  <a:pt x="10499" y="3649"/>
                  <a:pt x="10511" y="3643"/>
                </a:cubicBezTo>
                <a:cubicBezTo>
                  <a:pt x="10523" y="3637"/>
                  <a:pt x="10537" y="3634"/>
                  <a:pt x="10537" y="3626"/>
                </a:cubicBezTo>
                <a:cubicBezTo>
                  <a:pt x="10538" y="3617"/>
                  <a:pt x="10525" y="3585"/>
                  <a:pt x="10525" y="3566"/>
                </a:cubicBezTo>
                <a:cubicBezTo>
                  <a:pt x="10524" y="3548"/>
                  <a:pt x="10523" y="3519"/>
                  <a:pt x="10529" y="3516"/>
                </a:cubicBezTo>
                <a:cubicBezTo>
                  <a:pt x="10536" y="3512"/>
                  <a:pt x="10533" y="3504"/>
                  <a:pt x="10534" y="3472"/>
                </a:cubicBezTo>
                <a:cubicBezTo>
                  <a:pt x="10536" y="3440"/>
                  <a:pt x="10516" y="3440"/>
                  <a:pt x="10514" y="3427"/>
                </a:cubicBezTo>
                <a:cubicBezTo>
                  <a:pt x="10512" y="3415"/>
                  <a:pt x="10522" y="3409"/>
                  <a:pt x="10523" y="3397"/>
                </a:cubicBezTo>
                <a:cubicBezTo>
                  <a:pt x="10525" y="3385"/>
                  <a:pt x="10518" y="3378"/>
                  <a:pt x="10518" y="3362"/>
                </a:cubicBezTo>
                <a:cubicBezTo>
                  <a:pt x="10519" y="3346"/>
                  <a:pt x="10555" y="3344"/>
                  <a:pt x="10555" y="3337"/>
                </a:cubicBezTo>
                <a:cubicBezTo>
                  <a:pt x="10555" y="3330"/>
                  <a:pt x="10555" y="3314"/>
                  <a:pt x="10562" y="3309"/>
                </a:cubicBezTo>
                <a:cubicBezTo>
                  <a:pt x="10570" y="3304"/>
                  <a:pt x="10584" y="3305"/>
                  <a:pt x="10584" y="3305"/>
                </a:cubicBezTo>
                <a:cubicBezTo>
                  <a:pt x="10587" y="3299"/>
                  <a:pt x="10587" y="3299"/>
                  <a:pt x="10587" y="3299"/>
                </a:cubicBezTo>
                <a:cubicBezTo>
                  <a:pt x="10587" y="3299"/>
                  <a:pt x="10610" y="3310"/>
                  <a:pt x="10612" y="3299"/>
                </a:cubicBezTo>
                <a:cubicBezTo>
                  <a:pt x="10614" y="3288"/>
                  <a:pt x="10633" y="3253"/>
                  <a:pt x="10639" y="3243"/>
                </a:cubicBezTo>
                <a:cubicBezTo>
                  <a:pt x="10646" y="3234"/>
                  <a:pt x="10668" y="3235"/>
                  <a:pt x="10675" y="3221"/>
                </a:cubicBezTo>
                <a:cubicBezTo>
                  <a:pt x="10682" y="3208"/>
                  <a:pt x="10693" y="3180"/>
                  <a:pt x="10703" y="3171"/>
                </a:cubicBezTo>
                <a:cubicBezTo>
                  <a:pt x="10712" y="3161"/>
                  <a:pt x="10751" y="3141"/>
                  <a:pt x="10751" y="3141"/>
                </a:cubicBezTo>
                <a:cubicBezTo>
                  <a:pt x="10744" y="3121"/>
                  <a:pt x="10744" y="3121"/>
                  <a:pt x="10744" y="3121"/>
                </a:cubicBezTo>
                <a:cubicBezTo>
                  <a:pt x="10750" y="3116"/>
                  <a:pt x="10750" y="3116"/>
                  <a:pt x="10750" y="3116"/>
                </a:cubicBezTo>
                <a:cubicBezTo>
                  <a:pt x="10763" y="3135"/>
                  <a:pt x="10763" y="3135"/>
                  <a:pt x="10763" y="3135"/>
                </a:cubicBezTo>
                <a:cubicBezTo>
                  <a:pt x="10804" y="3096"/>
                  <a:pt x="10804" y="3096"/>
                  <a:pt x="10804" y="3096"/>
                </a:cubicBezTo>
                <a:cubicBezTo>
                  <a:pt x="10811" y="3078"/>
                  <a:pt x="10811" y="3078"/>
                  <a:pt x="10811" y="3078"/>
                </a:cubicBezTo>
                <a:cubicBezTo>
                  <a:pt x="10811" y="3078"/>
                  <a:pt x="10797" y="3061"/>
                  <a:pt x="10797" y="3050"/>
                </a:cubicBezTo>
                <a:cubicBezTo>
                  <a:pt x="10798" y="3039"/>
                  <a:pt x="10821" y="3043"/>
                  <a:pt x="10833" y="3028"/>
                </a:cubicBezTo>
                <a:cubicBezTo>
                  <a:pt x="10845" y="3012"/>
                  <a:pt x="10841" y="2999"/>
                  <a:pt x="10841" y="2999"/>
                </a:cubicBezTo>
                <a:cubicBezTo>
                  <a:pt x="10852" y="3004"/>
                  <a:pt x="10852" y="3004"/>
                  <a:pt x="10852" y="3004"/>
                </a:cubicBezTo>
                <a:cubicBezTo>
                  <a:pt x="10858" y="3022"/>
                  <a:pt x="10858" y="3022"/>
                  <a:pt x="10858" y="3022"/>
                </a:cubicBezTo>
                <a:cubicBezTo>
                  <a:pt x="10866" y="2999"/>
                  <a:pt x="10866" y="2999"/>
                  <a:pt x="10866" y="2999"/>
                </a:cubicBezTo>
                <a:cubicBezTo>
                  <a:pt x="10866" y="2999"/>
                  <a:pt x="10874" y="3041"/>
                  <a:pt x="10881" y="3044"/>
                </a:cubicBezTo>
                <a:cubicBezTo>
                  <a:pt x="10889" y="3046"/>
                  <a:pt x="10892" y="3018"/>
                  <a:pt x="10892" y="3018"/>
                </a:cubicBezTo>
                <a:cubicBezTo>
                  <a:pt x="10909" y="3041"/>
                  <a:pt x="10909" y="3041"/>
                  <a:pt x="10909" y="3041"/>
                </a:cubicBezTo>
                <a:cubicBezTo>
                  <a:pt x="10911" y="3002"/>
                  <a:pt x="10911" y="3002"/>
                  <a:pt x="10911" y="3002"/>
                </a:cubicBezTo>
                <a:cubicBezTo>
                  <a:pt x="10911" y="3002"/>
                  <a:pt x="10953" y="3018"/>
                  <a:pt x="10961" y="3016"/>
                </a:cubicBezTo>
                <a:cubicBezTo>
                  <a:pt x="10969" y="3013"/>
                  <a:pt x="10953" y="2995"/>
                  <a:pt x="10962" y="2993"/>
                </a:cubicBezTo>
                <a:cubicBezTo>
                  <a:pt x="10971" y="2991"/>
                  <a:pt x="10988" y="3011"/>
                  <a:pt x="11001" y="3006"/>
                </a:cubicBezTo>
                <a:cubicBezTo>
                  <a:pt x="11014" y="3002"/>
                  <a:pt x="11009" y="2989"/>
                  <a:pt x="11009" y="2989"/>
                </a:cubicBezTo>
                <a:cubicBezTo>
                  <a:pt x="11001" y="2968"/>
                  <a:pt x="11001" y="2968"/>
                  <a:pt x="11001" y="2968"/>
                </a:cubicBezTo>
                <a:cubicBezTo>
                  <a:pt x="11032" y="3001"/>
                  <a:pt x="11032" y="3001"/>
                  <a:pt x="11032" y="3001"/>
                </a:cubicBezTo>
                <a:cubicBezTo>
                  <a:pt x="11032" y="3001"/>
                  <a:pt x="11020" y="3040"/>
                  <a:pt x="11029" y="3046"/>
                </a:cubicBezTo>
                <a:cubicBezTo>
                  <a:pt x="11032" y="3048"/>
                  <a:pt x="11037" y="3049"/>
                  <a:pt x="11041" y="3050"/>
                </a:cubicBezTo>
                <a:cubicBezTo>
                  <a:pt x="11041" y="3050"/>
                  <a:pt x="11041" y="3050"/>
                  <a:pt x="11041" y="3050"/>
                </a:cubicBezTo>
                <a:cubicBezTo>
                  <a:pt x="11046" y="3050"/>
                  <a:pt x="11050" y="3050"/>
                  <a:pt x="11050" y="3050"/>
                </a:cubicBezTo>
                <a:cubicBezTo>
                  <a:pt x="11050" y="3081"/>
                  <a:pt x="11050" y="3081"/>
                  <a:pt x="11050" y="3081"/>
                </a:cubicBezTo>
                <a:cubicBezTo>
                  <a:pt x="11050" y="3081"/>
                  <a:pt x="11073" y="3087"/>
                  <a:pt x="11082" y="3097"/>
                </a:cubicBezTo>
                <a:cubicBezTo>
                  <a:pt x="11092" y="3107"/>
                  <a:pt x="11100" y="3129"/>
                  <a:pt x="11100" y="3129"/>
                </a:cubicBezTo>
                <a:cubicBezTo>
                  <a:pt x="11122" y="3124"/>
                  <a:pt x="11122" y="3124"/>
                  <a:pt x="11122" y="3124"/>
                </a:cubicBezTo>
                <a:cubicBezTo>
                  <a:pt x="11108" y="3153"/>
                  <a:pt x="11108" y="3153"/>
                  <a:pt x="11108" y="3153"/>
                </a:cubicBezTo>
                <a:cubicBezTo>
                  <a:pt x="11108" y="3153"/>
                  <a:pt x="11139" y="3160"/>
                  <a:pt x="11151" y="3169"/>
                </a:cubicBezTo>
                <a:cubicBezTo>
                  <a:pt x="11163" y="3178"/>
                  <a:pt x="11171" y="3214"/>
                  <a:pt x="11173" y="3221"/>
                </a:cubicBezTo>
                <a:cubicBezTo>
                  <a:pt x="11175" y="3227"/>
                  <a:pt x="11189" y="3240"/>
                  <a:pt x="11189" y="3240"/>
                </a:cubicBezTo>
                <a:cubicBezTo>
                  <a:pt x="11178" y="3252"/>
                  <a:pt x="11178" y="3252"/>
                  <a:pt x="11178" y="3252"/>
                </a:cubicBezTo>
                <a:cubicBezTo>
                  <a:pt x="11186" y="3313"/>
                  <a:pt x="11186" y="3313"/>
                  <a:pt x="11186" y="3313"/>
                </a:cubicBezTo>
                <a:cubicBezTo>
                  <a:pt x="11175" y="3321"/>
                  <a:pt x="11175" y="3321"/>
                  <a:pt x="11175" y="3321"/>
                </a:cubicBezTo>
                <a:cubicBezTo>
                  <a:pt x="11175" y="3321"/>
                  <a:pt x="11181" y="3340"/>
                  <a:pt x="11190" y="3339"/>
                </a:cubicBezTo>
                <a:cubicBezTo>
                  <a:pt x="11199" y="3338"/>
                  <a:pt x="11209" y="3330"/>
                  <a:pt x="11209" y="3330"/>
                </a:cubicBezTo>
                <a:cubicBezTo>
                  <a:pt x="11209" y="3330"/>
                  <a:pt x="11213" y="3345"/>
                  <a:pt x="11224" y="3340"/>
                </a:cubicBezTo>
                <a:cubicBezTo>
                  <a:pt x="11236" y="3336"/>
                  <a:pt x="11247" y="3313"/>
                  <a:pt x="11247" y="3313"/>
                </a:cubicBezTo>
                <a:cubicBezTo>
                  <a:pt x="11247" y="3313"/>
                  <a:pt x="11269" y="3309"/>
                  <a:pt x="11281" y="3300"/>
                </a:cubicBezTo>
                <a:cubicBezTo>
                  <a:pt x="11293" y="3290"/>
                  <a:pt x="11279" y="3261"/>
                  <a:pt x="11286" y="3255"/>
                </a:cubicBezTo>
                <a:close/>
                <a:moveTo>
                  <a:pt x="8218" y="4658"/>
                </a:moveTo>
                <a:cubicBezTo>
                  <a:pt x="8216" y="4663"/>
                  <a:pt x="8213" y="4668"/>
                  <a:pt x="8210" y="4670"/>
                </a:cubicBezTo>
                <a:cubicBezTo>
                  <a:pt x="8202" y="4674"/>
                  <a:pt x="8201" y="4657"/>
                  <a:pt x="8201" y="4657"/>
                </a:cubicBezTo>
                <a:cubicBezTo>
                  <a:pt x="8201" y="4657"/>
                  <a:pt x="8193" y="4652"/>
                  <a:pt x="8182" y="4648"/>
                </a:cubicBezTo>
                <a:cubicBezTo>
                  <a:pt x="8175" y="4645"/>
                  <a:pt x="8180" y="4638"/>
                  <a:pt x="8184" y="4632"/>
                </a:cubicBezTo>
                <a:cubicBezTo>
                  <a:pt x="8187" y="4629"/>
                  <a:pt x="8189" y="4627"/>
                  <a:pt x="8189" y="4627"/>
                </a:cubicBezTo>
                <a:cubicBezTo>
                  <a:pt x="8189" y="4627"/>
                  <a:pt x="8182" y="4615"/>
                  <a:pt x="8177" y="4611"/>
                </a:cubicBezTo>
                <a:cubicBezTo>
                  <a:pt x="8173" y="4607"/>
                  <a:pt x="8176" y="4589"/>
                  <a:pt x="8176" y="4582"/>
                </a:cubicBezTo>
                <a:cubicBezTo>
                  <a:pt x="8176" y="4575"/>
                  <a:pt x="8164" y="4579"/>
                  <a:pt x="8161" y="4578"/>
                </a:cubicBezTo>
                <a:cubicBezTo>
                  <a:pt x="8158" y="4577"/>
                  <a:pt x="8155" y="4567"/>
                  <a:pt x="8155" y="4559"/>
                </a:cubicBezTo>
                <a:cubicBezTo>
                  <a:pt x="8155" y="4551"/>
                  <a:pt x="8146" y="4550"/>
                  <a:pt x="8139" y="4543"/>
                </a:cubicBezTo>
                <a:cubicBezTo>
                  <a:pt x="8132" y="4536"/>
                  <a:pt x="8130" y="4519"/>
                  <a:pt x="8131" y="4513"/>
                </a:cubicBezTo>
                <a:cubicBezTo>
                  <a:pt x="8132" y="4507"/>
                  <a:pt x="8137" y="4497"/>
                  <a:pt x="8137" y="4490"/>
                </a:cubicBezTo>
                <a:cubicBezTo>
                  <a:pt x="8137" y="4483"/>
                  <a:pt x="8127" y="4483"/>
                  <a:pt x="8123" y="4473"/>
                </a:cubicBezTo>
                <a:cubicBezTo>
                  <a:pt x="8119" y="4463"/>
                  <a:pt x="8123" y="4451"/>
                  <a:pt x="8124" y="4439"/>
                </a:cubicBezTo>
                <a:cubicBezTo>
                  <a:pt x="8125" y="4427"/>
                  <a:pt x="8126" y="4416"/>
                  <a:pt x="8129" y="4403"/>
                </a:cubicBezTo>
                <a:cubicBezTo>
                  <a:pt x="8131" y="4395"/>
                  <a:pt x="8137" y="4396"/>
                  <a:pt x="8141" y="4399"/>
                </a:cubicBezTo>
                <a:cubicBezTo>
                  <a:pt x="8141" y="4406"/>
                  <a:pt x="8142" y="4425"/>
                  <a:pt x="8147" y="4435"/>
                </a:cubicBezTo>
                <a:cubicBezTo>
                  <a:pt x="8148" y="4435"/>
                  <a:pt x="8150" y="4434"/>
                  <a:pt x="8152" y="4434"/>
                </a:cubicBezTo>
                <a:cubicBezTo>
                  <a:pt x="8152" y="4434"/>
                  <a:pt x="8151" y="4434"/>
                  <a:pt x="8151" y="4434"/>
                </a:cubicBezTo>
                <a:cubicBezTo>
                  <a:pt x="8149" y="4443"/>
                  <a:pt x="8149" y="4443"/>
                  <a:pt x="8149" y="4443"/>
                </a:cubicBezTo>
                <a:cubicBezTo>
                  <a:pt x="8149" y="4443"/>
                  <a:pt x="8155" y="4454"/>
                  <a:pt x="8158" y="4458"/>
                </a:cubicBezTo>
                <a:cubicBezTo>
                  <a:pt x="8161" y="4462"/>
                  <a:pt x="8157" y="4475"/>
                  <a:pt x="8157" y="4475"/>
                </a:cubicBezTo>
                <a:cubicBezTo>
                  <a:pt x="8157" y="4475"/>
                  <a:pt x="8168" y="4505"/>
                  <a:pt x="8164" y="4510"/>
                </a:cubicBezTo>
                <a:cubicBezTo>
                  <a:pt x="8160" y="4515"/>
                  <a:pt x="8157" y="4518"/>
                  <a:pt x="8158" y="4528"/>
                </a:cubicBezTo>
                <a:cubicBezTo>
                  <a:pt x="8159" y="4538"/>
                  <a:pt x="8167" y="4543"/>
                  <a:pt x="8173" y="4545"/>
                </a:cubicBezTo>
                <a:cubicBezTo>
                  <a:pt x="8179" y="4547"/>
                  <a:pt x="8196" y="4565"/>
                  <a:pt x="8200" y="4571"/>
                </a:cubicBezTo>
                <a:cubicBezTo>
                  <a:pt x="8204" y="4577"/>
                  <a:pt x="8200" y="4586"/>
                  <a:pt x="8198" y="4594"/>
                </a:cubicBezTo>
                <a:cubicBezTo>
                  <a:pt x="8196" y="4602"/>
                  <a:pt x="8205" y="4619"/>
                  <a:pt x="8205" y="4619"/>
                </a:cubicBezTo>
                <a:cubicBezTo>
                  <a:pt x="8223" y="4643"/>
                  <a:pt x="8223" y="4643"/>
                  <a:pt x="8223" y="4643"/>
                </a:cubicBezTo>
                <a:cubicBezTo>
                  <a:pt x="8223" y="4643"/>
                  <a:pt x="8221" y="4650"/>
                  <a:pt x="8218" y="4658"/>
                </a:cubicBezTo>
                <a:close/>
                <a:moveTo>
                  <a:pt x="8429" y="4817"/>
                </a:moveTo>
                <a:cubicBezTo>
                  <a:pt x="8429" y="4817"/>
                  <a:pt x="8429" y="4817"/>
                  <a:pt x="8428" y="4817"/>
                </a:cubicBezTo>
                <a:cubicBezTo>
                  <a:pt x="8429" y="4817"/>
                  <a:pt x="8429" y="4817"/>
                  <a:pt x="8429" y="4817"/>
                </a:cubicBezTo>
                <a:close/>
                <a:moveTo>
                  <a:pt x="8428" y="4817"/>
                </a:moveTo>
                <a:cubicBezTo>
                  <a:pt x="8425" y="4817"/>
                  <a:pt x="8417" y="4818"/>
                  <a:pt x="8408" y="4818"/>
                </a:cubicBezTo>
                <a:cubicBezTo>
                  <a:pt x="8417" y="4818"/>
                  <a:pt x="8425" y="4817"/>
                  <a:pt x="8428" y="4817"/>
                </a:cubicBezTo>
                <a:close/>
                <a:moveTo>
                  <a:pt x="8400" y="4818"/>
                </a:moveTo>
                <a:cubicBezTo>
                  <a:pt x="8400" y="4818"/>
                  <a:pt x="8400" y="4818"/>
                  <a:pt x="8399" y="4818"/>
                </a:cubicBezTo>
                <a:cubicBezTo>
                  <a:pt x="8398" y="4822"/>
                  <a:pt x="8398" y="4826"/>
                  <a:pt x="8398" y="4828"/>
                </a:cubicBezTo>
                <a:cubicBezTo>
                  <a:pt x="8398" y="4831"/>
                  <a:pt x="8395" y="4837"/>
                  <a:pt x="8386" y="4845"/>
                </a:cubicBezTo>
                <a:cubicBezTo>
                  <a:pt x="8377" y="4853"/>
                  <a:pt x="8387" y="4860"/>
                  <a:pt x="8391" y="4865"/>
                </a:cubicBezTo>
                <a:cubicBezTo>
                  <a:pt x="8395" y="4870"/>
                  <a:pt x="8395" y="4888"/>
                  <a:pt x="8390" y="4900"/>
                </a:cubicBezTo>
                <a:cubicBezTo>
                  <a:pt x="8387" y="4907"/>
                  <a:pt x="8387" y="4915"/>
                  <a:pt x="8388" y="4920"/>
                </a:cubicBezTo>
                <a:cubicBezTo>
                  <a:pt x="8388" y="4925"/>
                  <a:pt x="8390" y="4928"/>
                  <a:pt x="8392" y="4929"/>
                </a:cubicBezTo>
                <a:cubicBezTo>
                  <a:pt x="8397" y="4931"/>
                  <a:pt x="8401" y="4937"/>
                  <a:pt x="8401" y="4937"/>
                </a:cubicBezTo>
                <a:cubicBezTo>
                  <a:pt x="8401" y="4937"/>
                  <a:pt x="8406" y="4962"/>
                  <a:pt x="8400" y="4964"/>
                </a:cubicBezTo>
                <a:cubicBezTo>
                  <a:pt x="8394" y="4966"/>
                  <a:pt x="8392" y="4953"/>
                  <a:pt x="8392" y="4953"/>
                </a:cubicBezTo>
                <a:cubicBezTo>
                  <a:pt x="8392" y="4953"/>
                  <a:pt x="8380" y="4959"/>
                  <a:pt x="8377" y="4957"/>
                </a:cubicBezTo>
                <a:cubicBezTo>
                  <a:pt x="8374" y="4955"/>
                  <a:pt x="8374" y="4941"/>
                  <a:pt x="8373" y="4934"/>
                </a:cubicBezTo>
                <a:cubicBezTo>
                  <a:pt x="8372" y="4927"/>
                  <a:pt x="8370" y="4924"/>
                  <a:pt x="8368" y="4920"/>
                </a:cubicBezTo>
                <a:cubicBezTo>
                  <a:pt x="8366" y="4916"/>
                  <a:pt x="8368" y="4903"/>
                  <a:pt x="8368" y="4895"/>
                </a:cubicBezTo>
                <a:cubicBezTo>
                  <a:pt x="8368" y="4887"/>
                  <a:pt x="8363" y="4881"/>
                  <a:pt x="8351" y="4871"/>
                </a:cubicBezTo>
                <a:cubicBezTo>
                  <a:pt x="8339" y="4861"/>
                  <a:pt x="8348" y="4863"/>
                  <a:pt x="8346" y="4854"/>
                </a:cubicBezTo>
                <a:cubicBezTo>
                  <a:pt x="8344" y="4845"/>
                  <a:pt x="8354" y="4837"/>
                  <a:pt x="8364" y="4826"/>
                </a:cubicBezTo>
                <a:cubicBezTo>
                  <a:pt x="8374" y="4815"/>
                  <a:pt x="8370" y="4813"/>
                  <a:pt x="8371" y="4808"/>
                </a:cubicBezTo>
                <a:cubicBezTo>
                  <a:pt x="8372" y="4803"/>
                  <a:pt x="8368" y="4798"/>
                  <a:pt x="8368" y="4790"/>
                </a:cubicBezTo>
                <a:cubicBezTo>
                  <a:pt x="8368" y="4782"/>
                  <a:pt x="8366" y="4767"/>
                  <a:pt x="8365" y="4751"/>
                </a:cubicBezTo>
                <a:cubicBezTo>
                  <a:pt x="8364" y="4735"/>
                  <a:pt x="8362" y="4744"/>
                  <a:pt x="8351" y="4737"/>
                </a:cubicBezTo>
                <a:cubicBezTo>
                  <a:pt x="8340" y="4730"/>
                  <a:pt x="8348" y="4721"/>
                  <a:pt x="8347" y="4710"/>
                </a:cubicBezTo>
                <a:cubicBezTo>
                  <a:pt x="8347" y="4710"/>
                  <a:pt x="8351" y="4697"/>
                  <a:pt x="8361" y="4702"/>
                </a:cubicBezTo>
                <a:cubicBezTo>
                  <a:pt x="8371" y="4707"/>
                  <a:pt x="8379" y="4728"/>
                  <a:pt x="8379" y="4728"/>
                </a:cubicBezTo>
                <a:cubicBezTo>
                  <a:pt x="8381" y="4763"/>
                  <a:pt x="8381" y="4763"/>
                  <a:pt x="8381" y="4763"/>
                </a:cubicBezTo>
                <a:cubicBezTo>
                  <a:pt x="8381" y="4763"/>
                  <a:pt x="8386" y="4764"/>
                  <a:pt x="8386" y="4771"/>
                </a:cubicBezTo>
                <a:cubicBezTo>
                  <a:pt x="8386" y="4778"/>
                  <a:pt x="8383" y="4780"/>
                  <a:pt x="8380" y="4788"/>
                </a:cubicBezTo>
                <a:cubicBezTo>
                  <a:pt x="8377" y="4796"/>
                  <a:pt x="8399" y="4806"/>
                  <a:pt x="8399" y="4806"/>
                </a:cubicBezTo>
                <a:cubicBezTo>
                  <a:pt x="8398" y="4818"/>
                  <a:pt x="8398" y="4818"/>
                  <a:pt x="8398" y="4818"/>
                </a:cubicBezTo>
                <a:cubicBezTo>
                  <a:pt x="8399" y="4818"/>
                  <a:pt x="8399" y="4818"/>
                  <a:pt x="8400" y="4818"/>
                </a:cubicBezTo>
                <a:close/>
                <a:moveTo>
                  <a:pt x="8250" y="4289"/>
                </a:moveTo>
                <a:cubicBezTo>
                  <a:pt x="8252" y="4275"/>
                  <a:pt x="8260" y="4257"/>
                  <a:pt x="8261" y="4251"/>
                </a:cubicBezTo>
                <a:cubicBezTo>
                  <a:pt x="8261" y="4250"/>
                  <a:pt x="8261" y="4250"/>
                  <a:pt x="8261" y="4249"/>
                </a:cubicBezTo>
                <a:cubicBezTo>
                  <a:pt x="8261" y="4244"/>
                  <a:pt x="8255" y="4238"/>
                  <a:pt x="8253" y="4232"/>
                </a:cubicBezTo>
                <a:cubicBezTo>
                  <a:pt x="8251" y="4225"/>
                  <a:pt x="8258" y="4217"/>
                  <a:pt x="8262" y="4213"/>
                </a:cubicBezTo>
                <a:cubicBezTo>
                  <a:pt x="8266" y="4209"/>
                  <a:pt x="8260" y="4197"/>
                  <a:pt x="8269" y="4190"/>
                </a:cubicBezTo>
                <a:cubicBezTo>
                  <a:pt x="8278" y="4183"/>
                  <a:pt x="8308" y="4185"/>
                  <a:pt x="8311" y="4183"/>
                </a:cubicBezTo>
                <a:cubicBezTo>
                  <a:pt x="8314" y="4181"/>
                  <a:pt x="8321" y="4169"/>
                  <a:pt x="8327" y="4169"/>
                </a:cubicBezTo>
                <a:cubicBezTo>
                  <a:pt x="8333" y="4169"/>
                  <a:pt x="8333" y="4186"/>
                  <a:pt x="8333" y="4186"/>
                </a:cubicBezTo>
                <a:cubicBezTo>
                  <a:pt x="8333" y="4186"/>
                  <a:pt x="8340" y="4179"/>
                  <a:pt x="8351" y="4182"/>
                </a:cubicBezTo>
                <a:cubicBezTo>
                  <a:pt x="8353" y="4182"/>
                  <a:pt x="8355" y="4183"/>
                  <a:pt x="8358" y="4184"/>
                </a:cubicBezTo>
                <a:cubicBezTo>
                  <a:pt x="8358" y="4185"/>
                  <a:pt x="8358" y="4185"/>
                  <a:pt x="8358" y="4186"/>
                </a:cubicBezTo>
                <a:cubicBezTo>
                  <a:pt x="8358" y="4197"/>
                  <a:pt x="8367" y="4207"/>
                  <a:pt x="8374" y="4208"/>
                </a:cubicBezTo>
                <a:cubicBezTo>
                  <a:pt x="8381" y="4209"/>
                  <a:pt x="8381" y="4200"/>
                  <a:pt x="8381" y="4200"/>
                </a:cubicBezTo>
                <a:cubicBezTo>
                  <a:pt x="8395" y="4199"/>
                  <a:pt x="8395" y="4199"/>
                  <a:pt x="8395" y="4199"/>
                </a:cubicBezTo>
                <a:cubicBezTo>
                  <a:pt x="8398" y="4211"/>
                  <a:pt x="8398" y="4211"/>
                  <a:pt x="8398" y="4211"/>
                </a:cubicBezTo>
                <a:cubicBezTo>
                  <a:pt x="8389" y="4213"/>
                  <a:pt x="8389" y="4213"/>
                  <a:pt x="8389" y="4213"/>
                </a:cubicBezTo>
                <a:cubicBezTo>
                  <a:pt x="8379" y="4221"/>
                  <a:pt x="8379" y="4221"/>
                  <a:pt x="8379" y="4221"/>
                </a:cubicBezTo>
                <a:cubicBezTo>
                  <a:pt x="8379" y="4221"/>
                  <a:pt x="8374" y="4211"/>
                  <a:pt x="8365" y="4221"/>
                </a:cubicBezTo>
                <a:cubicBezTo>
                  <a:pt x="8356" y="4231"/>
                  <a:pt x="8369" y="4240"/>
                  <a:pt x="8369" y="4240"/>
                </a:cubicBezTo>
                <a:cubicBezTo>
                  <a:pt x="8366" y="4249"/>
                  <a:pt x="8366" y="4249"/>
                  <a:pt x="8366" y="4249"/>
                </a:cubicBezTo>
                <a:cubicBezTo>
                  <a:pt x="8360" y="4249"/>
                  <a:pt x="8355" y="4249"/>
                  <a:pt x="8355" y="4250"/>
                </a:cubicBezTo>
                <a:cubicBezTo>
                  <a:pt x="8355" y="4250"/>
                  <a:pt x="8355" y="4250"/>
                  <a:pt x="8355" y="4250"/>
                </a:cubicBezTo>
                <a:cubicBezTo>
                  <a:pt x="8355" y="4259"/>
                  <a:pt x="8358" y="4273"/>
                  <a:pt x="8358" y="4273"/>
                </a:cubicBezTo>
                <a:cubicBezTo>
                  <a:pt x="8343" y="4280"/>
                  <a:pt x="8343" y="4280"/>
                  <a:pt x="8343" y="4280"/>
                </a:cubicBezTo>
                <a:cubicBezTo>
                  <a:pt x="8343" y="4280"/>
                  <a:pt x="8330" y="4289"/>
                  <a:pt x="8325" y="4304"/>
                </a:cubicBezTo>
                <a:cubicBezTo>
                  <a:pt x="8320" y="4319"/>
                  <a:pt x="8355" y="4308"/>
                  <a:pt x="8355" y="4308"/>
                </a:cubicBezTo>
                <a:cubicBezTo>
                  <a:pt x="8355" y="4308"/>
                  <a:pt x="8336" y="4324"/>
                  <a:pt x="8330" y="4327"/>
                </a:cubicBezTo>
                <a:cubicBezTo>
                  <a:pt x="8324" y="4330"/>
                  <a:pt x="8320" y="4321"/>
                  <a:pt x="8311" y="4320"/>
                </a:cubicBezTo>
                <a:cubicBezTo>
                  <a:pt x="8302" y="4319"/>
                  <a:pt x="8303" y="4338"/>
                  <a:pt x="8303" y="4338"/>
                </a:cubicBezTo>
                <a:cubicBezTo>
                  <a:pt x="8310" y="4348"/>
                  <a:pt x="8310" y="4348"/>
                  <a:pt x="8310" y="4348"/>
                </a:cubicBezTo>
                <a:cubicBezTo>
                  <a:pt x="8310" y="4348"/>
                  <a:pt x="8307" y="4349"/>
                  <a:pt x="8297" y="4348"/>
                </a:cubicBezTo>
                <a:cubicBezTo>
                  <a:pt x="8287" y="4347"/>
                  <a:pt x="8299" y="4322"/>
                  <a:pt x="8299" y="4322"/>
                </a:cubicBezTo>
                <a:cubicBezTo>
                  <a:pt x="8287" y="4327"/>
                  <a:pt x="8287" y="4327"/>
                  <a:pt x="8287" y="4327"/>
                </a:cubicBezTo>
                <a:cubicBezTo>
                  <a:pt x="8287" y="4327"/>
                  <a:pt x="8279" y="4315"/>
                  <a:pt x="8272" y="4315"/>
                </a:cubicBezTo>
                <a:cubicBezTo>
                  <a:pt x="8262" y="4315"/>
                  <a:pt x="8263" y="4341"/>
                  <a:pt x="8258" y="4341"/>
                </a:cubicBezTo>
                <a:cubicBezTo>
                  <a:pt x="8253" y="4341"/>
                  <a:pt x="8253" y="4329"/>
                  <a:pt x="8253" y="4329"/>
                </a:cubicBezTo>
                <a:cubicBezTo>
                  <a:pt x="8253" y="4329"/>
                  <a:pt x="8248" y="4303"/>
                  <a:pt x="8250" y="4289"/>
                </a:cubicBezTo>
                <a:close/>
                <a:moveTo>
                  <a:pt x="8586" y="1964"/>
                </a:moveTo>
                <a:cubicBezTo>
                  <a:pt x="8578" y="1973"/>
                  <a:pt x="8560" y="1988"/>
                  <a:pt x="8550" y="1992"/>
                </a:cubicBezTo>
                <a:cubicBezTo>
                  <a:pt x="8536" y="1997"/>
                  <a:pt x="8492" y="1991"/>
                  <a:pt x="8492" y="1991"/>
                </a:cubicBezTo>
                <a:cubicBezTo>
                  <a:pt x="8456" y="2002"/>
                  <a:pt x="8456" y="2002"/>
                  <a:pt x="8456" y="2002"/>
                </a:cubicBezTo>
                <a:cubicBezTo>
                  <a:pt x="8413" y="1986"/>
                  <a:pt x="8413" y="1986"/>
                  <a:pt x="8413" y="1986"/>
                </a:cubicBezTo>
                <a:cubicBezTo>
                  <a:pt x="8395" y="1992"/>
                  <a:pt x="8395" y="1992"/>
                  <a:pt x="8395" y="1992"/>
                </a:cubicBezTo>
                <a:cubicBezTo>
                  <a:pt x="8395" y="1992"/>
                  <a:pt x="8386" y="1970"/>
                  <a:pt x="8378" y="1972"/>
                </a:cubicBezTo>
                <a:cubicBezTo>
                  <a:pt x="8370" y="1973"/>
                  <a:pt x="8361" y="1980"/>
                  <a:pt x="8361" y="1980"/>
                </a:cubicBezTo>
                <a:cubicBezTo>
                  <a:pt x="8345" y="1970"/>
                  <a:pt x="8345" y="1970"/>
                  <a:pt x="8345" y="1970"/>
                </a:cubicBezTo>
                <a:cubicBezTo>
                  <a:pt x="8342" y="1955"/>
                  <a:pt x="8342" y="1955"/>
                  <a:pt x="8342" y="1955"/>
                </a:cubicBezTo>
                <a:cubicBezTo>
                  <a:pt x="8312" y="1960"/>
                  <a:pt x="8312" y="1960"/>
                  <a:pt x="8312" y="1960"/>
                </a:cubicBezTo>
                <a:cubicBezTo>
                  <a:pt x="8293" y="1950"/>
                  <a:pt x="8293" y="1950"/>
                  <a:pt x="8293" y="1950"/>
                </a:cubicBezTo>
                <a:cubicBezTo>
                  <a:pt x="8290" y="1935"/>
                  <a:pt x="8290" y="1935"/>
                  <a:pt x="8290" y="1935"/>
                </a:cubicBezTo>
                <a:cubicBezTo>
                  <a:pt x="8290" y="1935"/>
                  <a:pt x="8268" y="1946"/>
                  <a:pt x="8255" y="1946"/>
                </a:cubicBezTo>
                <a:cubicBezTo>
                  <a:pt x="8242" y="1946"/>
                  <a:pt x="8224" y="1940"/>
                  <a:pt x="8212" y="1941"/>
                </a:cubicBezTo>
                <a:cubicBezTo>
                  <a:pt x="8201" y="1942"/>
                  <a:pt x="8166" y="1956"/>
                  <a:pt x="8160" y="1962"/>
                </a:cubicBezTo>
                <a:cubicBezTo>
                  <a:pt x="8155" y="1969"/>
                  <a:pt x="8140" y="1972"/>
                  <a:pt x="8140" y="1972"/>
                </a:cubicBezTo>
                <a:cubicBezTo>
                  <a:pt x="8134" y="1987"/>
                  <a:pt x="8134" y="1987"/>
                  <a:pt x="8134" y="1987"/>
                </a:cubicBezTo>
                <a:cubicBezTo>
                  <a:pt x="8134" y="1987"/>
                  <a:pt x="8134" y="1991"/>
                  <a:pt x="8120" y="1988"/>
                </a:cubicBezTo>
                <a:cubicBezTo>
                  <a:pt x="8108" y="1985"/>
                  <a:pt x="8084" y="1982"/>
                  <a:pt x="8071" y="1982"/>
                </a:cubicBezTo>
                <a:cubicBezTo>
                  <a:pt x="8059" y="1982"/>
                  <a:pt x="8019" y="1973"/>
                  <a:pt x="8019" y="1973"/>
                </a:cubicBezTo>
                <a:cubicBezTo>
                  <a:pt x="8019" y="1973"/>
                  <a:pt x="7994" y="1976"/>
                  <a:pt x="7991" y="1963"/>
                </a:cubicBezTo>
                <a:cubicBezTo>
                  <a:pt x="7989" y="1956"/>
                  <a:pt x="7988" y="1949"/>
                  <a:pt x="7987" y="1944"/>
                </a:cubicBezTo>
                <a:cubicBezTo>
                  <a:pt x="7978" y="1945"/>
                  <a:pt x="7964" y="1943"/>
                  <a:pt x="7964" y="1943"/>
                </a:cubicBezTo>
                <a:cubicBezTo>
                  <a:pt x="7962" y="1940"/>
                  <a:pt x="7961" y="1938"/>
                  <a:pt x="7960" y="1936"/>
                </a:cubicBezTo>
                <a:cubicBezTo>
                  <a:pt x="7966" y="1928"/>
                  <a:pt x="7966" y="1928"/>
                  <a:pt x="7966" y="1928"/>
                </a:cubicBezTo>
                <a:cubicBezTo>
                  <a:pt x="7976" y="1941"/>
                  <a:pt x="7976" y="1941"/>
                  <a:pt x="7976" y="1941"/>
                </a:cubicBezTo>
                <a:cubicBezTo>
                  <a:pt x="7976" y="1941"/>
                  <a:pt x="7990" y="1943"/>
                  <a:pt x="7999" y="1942"/>
                </a:cubicBezTo>
                <a:cubicBezTo>
                  <a:pt x="7998" y="1939"/>
                  <a:pt x="7998" y="1937"/>
                  <a:pt x="7998" y="1937"/>
                </a:cubicBezTo>
                <a:cubicBezTo>
                  <a:pt x="7975" y="1909"/>
                  <a:pt x="7975" y="1909"/>
                  <a:pt x="7975" y="1909"/>
                </a:cubicBezTo>
                <a:cubicBezTo>
                  <a:pt x="7975" y="1909"/>
                  <a:pt x="7985" y="1904"/>
                  <a:pt x="7989" y="1897"/>
                </a:cubicBezTo>
                <a:cubicBezTo>
                  <a:pt x="7993" y="1890"/>
                  <a:pt x="7982" y="1876"/>
                  <a:pt x="7991" y="1869"/>
                </a:cubicBezTo>
                <a:cubicBezTo>
                  <a:pt x="8000" y="1862"/>
                  <a:pt x="8017" y="1866"/>
                  <a:pt x="8017" y="1866"/>
                </a:cubicBezTo>
                <a:cubicBezTo>
                  <a:pt x="8017" y="1866"/>
                  <a:pt x="8015" y="1857"/>
                  <a:pt x="8014" y="1845"/>
                </a:cubicBezTo>
                <a:cubicBezTo>
                  <a:pt x="8012" y="1834"/>
                  <a:pt x="8013" y="1820"/>
                  <a:pt x="8018" y="1813"/>
                </a:cubicBezTo>
                <a:cubicBezTo>
                  <a:pt x="8027" y="1801"/>
                  <a:pt x="8033" y="1791"/>
                  <a:pt x="8033" y="1791"/>
                </a:cubicBezTo>
                <a:cubicBezTo>
                  <a:pt x="8033" y="1791"/>
                  <a:pt x="8065" y="1801"/>
                  <a:pt x="8061" y="1778"/>
                </a:cubicBezTo>
                <a:cubicBezTo>
                  <a:pt x="8058" y="1762"/>
                  <a:pt x="8053" y="1753"/>
                  <a:pt x="8050" y="1750"/>
                </a:cubicBezTo>
                <a:cubicBezTo>
                  <a:pt x="8050" y="1748"/>
                  <a:pt x="8049" y="1748"/>
                  <a:pt x="8049" y="1748"/>
                </a:cubicBezTo>
                <a:cubicBezTo>
                  <a:pt x="8049" y="1748"/>
                  <a:pt x="8066" y="1741"/>
                  <a:pt x="8074" y="1735"/>
                </a:cubicBezTo>
                <a:cubicBezTo>
                  <a:pt x="8083" y="1729"/>
                  <a:pt x="8096" y="1705"/>
                  <a:pt x="8096" y="1705"/>
                </a:cubicBezTo>
                <a:cubicBezTo>
                  <a:pt x="8117" y="1696"/>
                  <a:pt x="8117" y="1696"/>
                  <a:pt x="8117" y="1696"/>
                </a:cubicBezTo>
                <a:cubicBezTo>
                  <a:pt x="8126" y="1685"/>
                  <a:pt x="8126" y="1685"/>
                  <a:pt x="8126" y="1685"/>
                </a:cubicBezTo>
                <a:cubicBezTo>
                  <a:pt x="8137" y="1690"/>
                  <a:pt x="8137" y="1690"/>
                  <a:pt x="8137" y="1690"/>
                </a:cubicBezTo>
                <a:cubicBezTo>
                  <a:pt x="8137" y="1690"/>
                  <a:pt x="8159" y="1694"/>
                  <a:pt x="8162" y="1694"/>
                </a:cubicBezTo>
                <a:cubicBezTo>
                  <a:pt x="8165" y="1694"/>
                  <a:pt x="8173" y="1688"/>
                  <a:pt x="8173" y="1688"/>
                </a:cubicBezTo>
                <a:cubicBezTo>
                  <a:pt x="8161" y="1704"/>
                  <a:pt x="8161" y="1704"/>
                  <a:pt x="8161" y="1704"/>
                </a:cubicBezTo>
                <a:cubicBezTo>
                  <a:pt x="8161" y="1704"/>
                  <a:pt x="8143" y="1698"/>
                  <a:pt x="8146" y="1705"/>
                </a:cubicBezTo>
                <a:cubicBezTo>
                  <a:pt x="8149" y="1712"/>
                  <a:pt x="8169" y="1717"/>
                  <a:pt x="8169" y="1717"/>
                </a:cubicBezTo>
                <a:cubicBezTo>
                  <a:pt x="8201" y="1718"/>
                  <a:pt x="8201" y="1718"/>
                  <a:pt x="8201" y="1718"/>
                </a:cubicBezTo>
                <a:cubicBezTo>
                  <a:pt x="8214" y="1719"/>
                  <a:pt x="8214" y="1719"/>
                  <a:pt x="8214" y="1719"/>
                </a:cubicBezTo>
                <a:cubicBezTo>
                  <a:pt x="8221" y="1730"/>
                  <a:pt x="8221" y="1730"/>
                  <a:pt x="8221" y="1730"/>
                </a:cubicBezTo>
                <a:cubicBezTo>
                  <a:pt x="8221" y="1730"/>
                  <a:pt x="8175" y="1756"/>
                  <a:pt x="8178" y="1759"/>
                </a:cubicBezTo>
                <a:cubicBezTo>
                  <a:pt x="8181" y="1762"/>
                  <a:pt x="8223" y="1763"/>
                  <a:pt x="8225" y="1776"/>
                </a:cubicBezTo>
                <a:cubicBezTo>
                  <a:pt x="8227" y="1790"/>
                  <a:pt x="8215" y="1804"/>
                  <a:pt x="8220" y="1806"/>
                </a:cubicBezTo>
                <a:cubicBezTo>
                  <a:pt x="8226" y="1808"/>
                  <a:pt x="8247" y="1810"/>
                  <a:pt x="8247" y="1810"/>
                </a:cubicBezTo>
                <a:cubicBezTo>
                  <a:pt x="8247" y="1810"/>
                  <a:pt x="8261" y="1791"/>
                  <a:pt x="8268" y="1791"/>
                </a:cubicBezTo>
                <a:cubicBezTo>
                  <a:pt x="8276" y="1791"/>
                  <a:pt x="8279" y="1797"/>
                  <a:pt x="8289" y="1791"/>
                </a:cubicBezTo>
                <a:cubicBezTo>
                  <a:pt x="8299" y="1785"/>
                  <a:pt x="8297" y="1773"/>
                  <a:pt x="8304" y="1772"/>
                </a:cubicBezTo>
                <a:cubicBezTo>
                  <a:pt x="8311" y="1771"/>
                  <a:pt x="8317" y="1780"/>
                  <a:pt x="8317" y="1780"/>
                </a:cubicBezTo>
                <a:cubicBezTo>
                  <a:pt x="8340" y="1776"/>
                  <a:pt x="8340" y="1776"/>
                  <a:pt x="8340" y="1776"/>
                </a:cubicBezTo>
                <a:cubicBezTo>
                  <a:pt x="8342" y="1765"/>
                  <a:pt x="8342" y="1765"/>
                  <a:pt x="8342" y="1765"/>
                </a:cubicBezTo>
                <a:cubicBezTo>
                  <a:pt x="8348" y="1756"/>
                  <a:pt x="8348" y="1756"/>
                  <a:pt x="8348" y="1756"/>
                </a:cubicBezTo>
                <a:cubicBezTo>
                  <a:pt x="8348" y="1756"/>
                  <a:pt x="8334" y="1750"/>
                  <a:pt x="8328" y="1756"/>
                </a:cubicBezTo>
                <a:cubicBezTo>
                  <a:pt x="8322" y="1762"/>
                  <a:pt x="8298" y="1763"/>
                  <a:pt x="8298" y="1763"/>
                </a:cubicBezTo>
                <a:cubicBezTo>
                  <a:pt x="8298" y="1763"/>
                  <a:pt x="8280" y="1757"/>
                  <a:pt x="8279" y="1747"/>
                </a:cubicBezTo>
                <a:cubicBezTo>
                  <a:pt x="8278" y="1737"/>
                  <a:pt x="8266" y="1738"/>
                  <a:pt x="8266" y="1738"/>
                </a:cubicBezTo>
                <a:cubicBezTo>
                  <a:pt x="8254" y="1725"/>
                  <a:pt x="8254" y="1725"/>
                  <a:pt x="8254" y="1725"/>
                </a:cubicBezTo>
                <a:cubicBezTo>
                  <a:pt x="8229" y="1723"/>
                  <a:pt x="8229" y="1723"/>
                  <a:pt x="8229" y="1723"/>
                </a:cubicBezTo>
                <a:cubicBezTo>
                  <a:pt x="8222" y="1715"/>
                  <a:pt x="8222" y="1715"/>
                  <a:pt x="8222" y="1715"/>
                </a:cubicBezTo>
                <a:cubicBezTo>
                  <a:pt x="8238" y="1714"/>
                  <a:pt x="8238" y="1714"/>
                  <a:pt x="8238" y="1714"/>
                </a:cubicBezTo>
                <a:cubicBezTo>
                  <a:pt x="8238" y="1714"/>
                  <a:pt x="8257" y="1718"/>
                  <a:pt x="8263" y="1717"/>
                </a:cubicBezTo>
                <a:cubicBezTo>
                  <a:pt x="8270" y="1715"/>
                  <a:pt x="8285" y="1703"/>
                  <a:pt x="8285" y="1703"/>
                </a:cubicBezTo>
                <a:cubicBezTo>
                  <a:pt x="8291" y="1708"/>
                  <a:pt x="8291" y="1708"/>
                  <a:pt x="8291" y="1708"/>
                </a:cubicBezTo>
                <a:cubicBezTo>
                  <a:pt x="8291" y="1708"/>
                  <a:pt x="8305" y="1695"/>
                  <a:pt x="8314" y="1692"/>
                </a:cubicBezTo>
                <a:cubicBezTo>
                  <a:pt x="8324" y="1689"/>
                  <a:pt x="8350" y="1688"/>
                  <a:pt x="8350" y="1688"/>
                </a:cubicBezTo>
                <a:cubicBezTo>
                  <a:pt x="8378" y="1666"/>
                  <a:pt x="8378" y="1666"/>
                  <a:pt x="8378" y="1666"/>
                </a:cubicBezTo>
                <a:cubicBezTo>
                  <a:pt x="8378" y="1666"/>
                  <a:pt x="8378" y="1666"/>
                  <a:pt x="8378" y="1666"/>
                </a:cubicBezTo>
                <a:cubicBezTo>
                  <a:pt x="8378" y="1666"/>
                  <a:pt x="8379" y="1666"/>
                  <a:pt x="8379" y="1666"/>
                </a:cubicBezTo>
                <a:cubicBezTo>
                  <a:pt x="8379" y="1666"/>
                  <a:pt x="8379" y="1666"/>
                  <a:pt x="8379" y="1666"/>
                </a:cubicBezTo>
                <a:cubicBezTo>
                  <a:pt x="8379" y="1666"/>
                  <a:pt x="8379" y="1666"/>
                  <a:pt x="8379" y="1666"/>
                </a:cubicBezTo>
                <a:cubicBezTo>
                  <a:pt x="8379" y="1666"/>
                  <a:pt x="8379" y="1666"/>
                  <a:pt x="8380" y="1666"/>
                </a:cubicBezTo>
                <a:cubicBezTo>
                  <a:pt x="8380" y="1666"/>
                  <a:pt x="8380" y="1666"/>
                  <a:pt x="8380" y="1666"/>
                </a:cubicBezTo>
                <a:cubicBezTo>
                  <a:pt x="8381" y="1667"/>
                  <a:pt x="8381" y="1667"/>
                  <a:pt x="8382" y="1667"/>
                </a:cubicBezTo>
                <a:cubicBezTo>
                  <a:pt x="8387" y="1669"/>
                  <a:pt x="8397" y="1671"/>
                  <a:pt x="8405" y="1668"/>
                </a:cubicBezTo>
                <a:cubicBezTo>
                  <a:pt x="8404" y="1669"/>
                  <a:pt x="8403" y="1669"/>
                  <a:pt x="8403" y="1669"/>
                </a:cubicBezTo>
                <a:cubicBezTo>
                  <a:pt x="8404" y="1669"/>
                  <a:pt x="8405" y="1668"/>
                  <a:pt x="8407" y="1668"/>
                </a:cubicBezTo>
                <a:cubicBezTo>
                  <a:pt x="8418" y="1662"/>
                  <a:pt x="8447" y="1653"/>
                  <a:pt x="8448" y="1662"/>
                </a:cubicBezTo>
                <a:cubicBezTo>
                  <a:pt x="8449" y="1670"/>
                  <a:pt x="8427" y="1686"/>
                  <a:pt x="8427" y="1686"/>
                </a:cubicBezTo>
                <a:cubicBezTo>
                  <a:pt x="8394" y="1696"/>
                  <a:pt x="8394" y="1696"/>
                  <a:pt x="8394" y="1696"/>
                </a:cubicBezTo>
                <a:cubicBezTo>
                  <a:pt x="8424" y="1719"/>
                  <a:pt x="8424" y="1719"/>
                  <a:pt x="8424" y="1719"/>
                </a:cubicBezTo>
                <a:cubicBezTo>
                  <a:pt x="8424" y="1719"/>
                  <a:pt x="8400" y="1724"/>
                  <a:pt x="8399" y="1734"/>
                </a:cubicBezTo>
                <a:cubicBezTo>
                  <a:pt x="8398" y="1744"/>
                  <a:pt x="8398" y="1755"/>
                  <a:pt x="8398" y="1755"/>
                </a:cubicBezTo>
                <a:cubicBezTo>
                  <a:pt x="8398" y="1755"/>
                  <a:pt x="8385" y="1764"/>
                  <a:pt x="8380" y="1764"/>
                </a:cubicBezTo>
                <a:cubicBezTo>
                  <a:pt x="8375" y="1764"/>
                  <a:pt x="8360" y="1753"/>
                  <a:pt x="8360" y="1753"/>
                </a:cubicBezTo>
                <a:cubicBezTo>
                  <a:pt x="8356" y="1764"/>
                  <a:pt x="8356" y="1764"/>
                  <a:pt x="8356" y="1764"/>
                </a:cubicBezTo>
                <a:cubicBezTo>
                  <a:pt x="8356" y="1764"/>
                  <a:pt x="8368" y="1777"/>
                  <a:pt x="8371" y="1777"/>
                </a:cubicBezTo>
                <a:cubicBezTo>
                  <a:pt x="8374" y="1777"/>
                  <a:pt x="8383" y="1796"/>
                  <a:pt x="8383" y="1796"/>
                </a:cubicBezTo>
                <a:cubicBezTo>
                  <a:pt x="8408" y="1794"/>
                  <a:pt x="8408" y="1794"/>
                  <a:pt x="8408" y="1794"/>
                </a:cubicBezTo>
                <a:cubicBezTo>
                  <a:pt x="8408" y="1794"/>
                  <a:pt x="8426" y="1813"/>
                  <a:pt x="8432" y="1813"/>
                </a:cubicBezTo>
                <a:cubicBezTo>
                  <a:pt x="8438" y="1813"/>
                  <a:pt x="8450" y="1814"/>
                  <a:pt x="8450" y="1814"/>
                </a:cubicBezTo>
                <a:cubicBezTo>
                  <a:pt x="8450" y="1814"/>
                  <a:pt x="8481" y="1851"/>
                  <a:pt x="8489" y="1854"/>
                </a:cubicBezTo>
                <a:cubicBezTo>
                  <a:pt x="8493" y="1855"/>
                  <a:pt x="8500" y="1858"/>
                  <a:pt x="8505" y="1861"/>
                </a:cubicBezTo>
                <a:cubicBezTo>
                  <a:pt x="8504" y="1861"/>
                  <a:pt x="8503" y="1862"/>
                  <a:pt x="8503" y="1863"/>
                </a:cubicBezTo>
                <a:cubicBezTo>
                  <a:pt x="8504" y="1864"/>
                  <a:pt x="8505" y="1865"/>
                  <a:pt x="8505" y="1865"/>
                </a:cubicBezTo>
                <a:cubicBezTo>
                  <a:pt x="8505" y="1865"/>
                  <a:pt x="8545" y="1888"/>
                  <a:pt x="8554" y="1891"/>
                </a:cubicBezTo>
                <a:cubicBezTo>
                  <a:pt x="8562" y="1894"/>
                  <a:pt x="8577" y="1907"/>
                  <a:pt x="8577" y="1907"/>
                </a:cubicBezTo>
                <a:cubicBezTo>
                  <a:pt x="8577" y="1907"/>
                  <a:pt x="8581" y="1935"/>
                  <a:pt x="8581" y="1938"/>
                </a:cubicBezTo>
                <a:cubicBezTo>
                  <a:pt x="8581" y="1942"/>
                  <a:pt x="8593" y="1957"/>
                  <a:pt x="8593" y="1957"/>
                </a:cubicBezTo>
                <a:cubicBezTo>
                  <a:pt x="8593" y="1957"/>
                  <a:pt x="8591" y="1959"/>
                  <a:pt x="8586" y="1964"/>
                </a:cubicBezTo>
                <a:close/>
                <a:moveTo>
                  <a:pt x="8770" y="1610"/>
                </a:moveTo>
                <a:cubicBezTo>
                  <a:pt x="8770" y="1610"/>
                  <a:pt x="8770" y="1610"/>
                  <a:pt x="8770" y="1610"/>
                </a:cubicBezTo>
                <a:cubicBezTo>
                  <a:pt x="8770" y="1610"/>
                  <a:pt x="8770" y="1610"/>
                  <a:pt x="8770" y="1610"/>
                </a:cubicBezTo>
                <a:cubicBezTo>
                  <a:pt x="8770" y="1610"/>
                  <a:pt x="8770" y="1610"/>
                  <a:pt x="8770" y="1610"/>
                </a:cubicBezTo>
                <a:close/>
                <a:moveTo>
                  <a:pt x="8771" y="1494"/>
                </a:moveTo>
                <a:cubicBezTo>
                  <a:pt x="8770" y="1493"/>
                  <a:pt x="8769" y="1492"/>
                  <a:pt x="8768" y="1492"/>
                </a:cubicBezTo>
                <a:cubicBezTo>
                  <a:pt x="8769" y="1492"/>
                  <a:pt x="8770" y="1493"/>
                  <a:pt x="8771" y="1494"/>
                </a:cubicBezTo>
                <a:cubicBezTo>
                  <a:pt x="8771" y="1494"/>
                  <a:pt x="8771" y="1494"/>
                  <a:pt x="8771" y="1494"/>
                </a:cubicBezTo>
                <a:close/>
                <a:moveTo>
                  <a:pt x="9119" y="1937"/>
                </a:moveTo>
                <a:cubicBezTo>
                  <a:pt x="9119" y="1941"/>
                  <a:pt x="9122" y="1941"/>
                  <a:pt x="9129" y="1953"/>
                </a:cubicBezTo>
                <a:cubicBezTo>
                  <a:pt x="9135" y="1965"/>
                  <a:pt x="9171" y="1974"/>
                  <a:pt x="9169" y="1985"/>
                </a:cubicBezTo>
                <a:cubicBezTo>
                  <a:pt x="9166" y="1995"/>
                  <a:pt x="9166" y="2001"/>
                  <a:pt x="9159" y="1999"/>
                </a:cubicBezTo>
                <a:cubicBezTo>
                  <a:pt x="9153" y="1998"/>
                  <a:pt x="9138" y="1985"/>
                  <a:pt x="9141" y="1989"/>
                </a:cubicBezTo>
                <a:cubicBezTo>
                  <a:pt x="9143" y="1993"/>
                  <a:pt x="9138" y="2002"/>
                  <a:pt x="9138" y="2002"/>
                </a:cubicBezTo>
                <a:cubicBezTo>
                  <a:pt x="9111" y="2003"/>
                  <a:pt x="9111" y="2003"/>
                  <a:pt x="9111" y="2003"/>
                </a:cubicBezTo>
                <a:cubicBezTo>
                  <a:pt x="9103" y="1990"/>
                  <a:pt x="9103" y="1990"/>
                  <a:pt x="9103" y="1990"/>
                </a:cubicBezTo>
                <a:cubicBezTo>
                  <a:pt x="9099" y="1995"/>
                  <a:pt x="9099" y="1995"/>
                  <a:pt x="9099" y="1995"/>
                </a:cubicBezTo>
                <a:cubicBezTo>
                  <a:pt x="9099" y="1995"/>
                  <a:pt x="9089" y="1985"/>
                  <a:pt x="9083" y="1975"/>
                </a:cubicBezTo>
                <a:cubicBezTo>
                  <a:pt x="9078" y="1966"/>
                  <a:pt x="9082" y="1951"/>
                  <a:pt x="9078" y="1950"/>
                </a:cubicBezTo>
                <a:cubicBezTo>
                  <a:pt x="9077" y="1950"/>
                  <a:pt x="9075" y="1949"/>
                  <a:pt x="9073" y="1948"/>
                </a:cubicBezTo>
                <a:cubicBezTo>
                  <a:pt x="9073" y="1948"/>
                  <a:pt x="9073" y="1948"/>
                  <a:pt x="9073" y="1948"/>
                </a:cubicBezTo>
                <a:cubicBezTo>
                  <a:pt x="9075" y="1942"/>
                  <a:pt x="9081" y="1922"/>
                  <a:pt x="9089" y="1921"/>
                </a:cubicBezTo>
                <a:cubicBezTo>
                  <a:pt x="9094" y="1920"/>
                  <a:pt x="9102" y="1921"/>
                  <a:pt x="9108" y="1922"/>
                </a:cubicBezTo>
                <a:cubicBezTo>
                  <a:pt x="9108" y="1925"/>
                  <a:pt x="9109" y="1927"/>
                  <a:pt x="9109" y="1927"/>
                </a:cubicBezTo>
                <a:cubicBezTo>
                  <a:pt x="9109" y="1927"/>
                  <a:pt x="9119" y="1933"/>
                  <a:pt x="9119" y="1937"/>
                </a:cubicBezTo>
                <a:close/>
                <a:moveTo>
                  <a:pt x="8999" y="1443"/>
                </a:moveTo>
                <a:cubicBezTo>
                  <a:pt x="8998" y="1442"/>
                  <a:pt x="8997" y="1441"/>
                  <a:pt x="8997" y="1441"/>
                </a:cubicBezTo>
                <a:cubicBezTo>
                  <a:pt x="8997" y="1441"/>
                  <a:pt x="8998" y="1442"/>
                  <a:pt x="8999" y="1443"/>
                </a:cubicBezTo>
                <a:close/>
                <a:moveTo>
                  <a:pt x="8994" y="1439"/>
                </a:moveTo>
                <a:cubicBezTo>
                  <a:pt x="8993" y="1439"/>
                  <a:pt x="8991" y="1439"/>
                  <a:pt x="8990" y="1439"/>
                </a:cubicBezTo>
                <a:cubicBezTo>
                  <a:pt x="8991" y="1439"/>
                  <a:pt x="8993" y="1439"/>
                  <a:pt x="8994" y="1439"/>
                </a:cubicBezTo>
                <a:close/>
                <a:moveTo>
                  <a:pt x="8852" y="1687"/>
                </a:moveTo>
                <a:cubicBezTo>
                  <a:pt x="8851" y="1687"/>
                  <a:pt x="8851" y="1687"/>
                  <a:pt x="8851" y="1687"/>
                </a:cubicBezTo>
                <a:cubicBezTo>
                  <a:pt x="8850" y="1687"/>
                  <a:pt x="8850" y="1687"/>
                  <a:pt x="8849" y="1686"/>
                </a:cubicBezTo>
                <a:cubicBezTo>
                  <a:pt x="8850" y="1687"/>
                  <a:pt x="8851" y="1687"/>
                  <a:pt x="8852" y="1687"/>
                </a:cubicBezTo>
                <a:close/>
                <a:moveTo>
                  <a:pt x="8846" y="1660"/>
                </a:moveTo>
                <a:cubicBezTo>
                  <a:pt x="8846" y="1660"/>
                  <a:pt x="8846" y="1660"/>
                  <a:pt x="8846" y="1660"/>
                </a:cubicBezTo>
                <a:cubicBezTo>
                  <a:pt x="8845" y="1683"/>
                  <a:pt x="8845" y="1683"/>
                  <a:pt x="8845" y="1683"/>
                </a:cubicBezTo>
                <a:lnTo>
                  <a:pt x="8846" y="1660"/>
                </a:lnTo>
                <a:close/>
                <a:moveTo>
                  <a:pt x="8820" y="1496"/>
                </a:moveTo>
                <a:cubicBezTo>
                  <a:pt x="8820" y="1496"/>
                  <a:pt x="8820" y="1496"/>
                  <a:pt x="8820" y="1496"/>
                </a:cubicBezTo>
                <a:cubicBezTo>
                  <a:pt x="8820" y="1496"/>
                  <a:pt x="8819" y="1495"/>
                  <a:pt x="8819" y="1495"/>
                </a:cubicBezTo>
                <a:cubicBezTo>
                  <a:pt x="8819" y="1495"/>
                  <a:pt x="8820" y="1495"/>
                  <a:pt x="8820" y="1496"/>
                </a:cubicBezTo>
                <a:close/>
                <a:moveTo>
                  <a:pt x="8818" y="1493"/>
                </a:moveTo>
                <a:cubicBezTo>
                  <a:pt x="8818" y="1493"/>
                  <a:pt x="8818" y="1493"/>
                  <a:pt x="8818" y="1494"/>
                </a:cubicBezTo>
                <a:cubicBezTo>
                  <a:pt x="8818" y="1494"/>
                  <a:pt x="8818" y="1494"/>
                  <a:pt x="8818" y="1494"/>
                </a:cubicBezTo>
                <a:cubicBezTo>
                  <a:pt x="8818" y="1493"/>
                  <a:pt x="8818" y="1493"/>
                  <a:pt x="8818" y="1492"/>
                </a:cubicBezTo>
                <a:cubicBezTo>
                  <a:pt x="8818" y="1493"/>
                  <a:pt x="8818" y="1493"/>
                  <a:pt x="8818" y="1493"/>
                </a:cubicBezTo>
                <a:close/>
                <a:moveTo>
                  <a:pt x="8817" y="1491"/>
                </a:moveTo>
                <a:cubicBezTo>
                  <a:pt x="8817" y="1491"/>
                  <a:pt x="8817" y="1491"/>
                  <a:pt x="8817" y="1491"/>
                </a:cubicBezTo>
                <a:cubicBezTo>
                  <a:pt x="8817" y="1491"/>
                  <a:pt x="8816" y="1491"/>
                  <a:pt x="8816" y="1490"/>
                </a:cubicBezTo>
                <a:cubicBezTo>
                  <a:pt x="8816" y="1491"/>
                  <a:pt x="8816" y="1491"/>
                  <a:pt x="8817" y="1491"/>
                </a:cubicBezTo>
                <a:close/>
                <a:moveTo>
                  <a:pt x="8814" y="1488"/>
                </a:moveTo>
                <a:cubicBezTo>
                  <a:pt x="8814" y="1488"/>
                  <a:pt x="8814" y="1489"/>
                  <a:pt x="8814" y="1489"/>
                </a:cubicBezTo>
                <a:cubicBezTo>
                  <a:pt x="8814" y="1489"/>
                  <a:pt x="8815" y="1489"/>
                  <a:pt x="8815" y="1490"/>
                </a:cubicBezTo>
                <a:cubicBezTo>
                  <a:pt x="8815" y="1489"/>
                  <a:pt x="8815" y="1489"/>
                  <a:pt x="8814" y="1489"/>
                </a:cubicBezTo>
                <a:cubicBezTo>
                  <a:pt x="8815" y="1489"/>
                  <a:pt x="8815" y="1489"/>
                  <a:pt x="8815" y="1490"/>
                </a:cubicBezTo>
                <a:cubicBezTo>
                  <a:pt x="8815" y="1490"/>
                  <a:pt x="8815" y="1490"/>
                  <a:pt x="8815" y="1490"/>
                </a:cubicBezTo>
                <a:cubicBezTo>
                  <a:pt x="8815" y="1489"/>
                  <a:pt x="8814" y="1489"/>
                  <a:pt x="8814" y="1488"/>
                </a:cubicBezTo>
                <a:cubicBezTo>
                  <a:pt x="8814" y="1488"/>
                  <a:pt x="8814" y="1488"/>
                  <a:pt x="8814" y="1488"/>
                </a:cubicBezTo>
                <a:close/>
                <a:moveTo>
                  <a:pt x="8931" y="2133"/>
                </a:moveTo>
                <a:cubicBezTo>
                  <a:pt x="8931" y="2133"/>
                  <a:pt x="8931" y="2134"/>
                  <a:pt x="8932" y="2136"/>
                </a:cubicBezTo>
                <a:cubicBezTo>
                  <a:pt x="8931" y="2134"/>
                  <a:pt x="8931" y="2133"/>
                  <a:pt x="8931" y="2133"/>
                </a:cubicBezTo>
                <a:close/>
                <a:moveTo>
                  <a:pt x="9173" y="2214"/>
                </a:moveTo>
                <a:cubicBezTo>
                  <a:pt x="9161" y="2216"/>
                  <a:pt x="9150" y="2209"/>
                  <a:pt x="9150" y="2209"/>
                </a:cubicBezTo>
                <a:cubicBezTo>
                  <a:pt x="9150" y="2209"/>
                  <a:pt x="9125" y="2214"/>
                  <a:pt x="9112" y="2217"/>
                </a:cubicBezTo>
                <a:cubicBezTo>
                  <a:pt x="9099" y="2220"/>
                  <a:pt x="9092" y="2229"/>
                  <a:pt x="9084" y="2228"/>
                </a:cubicBezTo>
                <a:cubicBezTo>
                  <a:pt x="9076" y="2227"/>
                  <a:pt x="9068" y="2218"/>
                  <a:pt x="9058" y="2218"/>
                </a:cubicBezTo>
                <a:cubicBezTo>
                  <a:pt x="9048" y="2218"/>
                  <a:pt x="9036" y="2218"/>
                  <a:pt x="9022" y="2208"/>
                </a:cubicBezTo>
                <a:cubicBezTo>
                  <a:pt x="9008" y="2198"/>
                  <a:pt x="9000" y="2181"/>
                  <a:pt x="9000" y="2181"/>
                </a:cubicBezTo>
                <a:cubicBezTo>
                  <a:pt x="9000" y="2181"/>
                  <a:pt x="8971" y="2178"/>
                  <a:pt x="8968" y="2178"/>
                </a:cubicBezTo>
                <a:cubicBezTo>
                  <a:pt x="8965" y="2178"/>
                  <a:pt x="8953" y="2171"/>
                  <a:pt x="8946" y="2163"/>
                </a:cubicBezTo>
                <a:cubicBezTo>
                  <a:pt x="8941" y="2157"/>
                  <a:pt x="8935" y="2143"/>
                  <a:pt x="8932" y="2136"/>
                </a:cubicBezTo>
                <a:cubicBezTo>
                  <a:pt x="8934" y="2129"/>
                  <a:pt x="8936" y="2120"/>
                  <a:pt x="8935" y="2116"/>
                </a:cubicBezTo>
                <a:cubicBezTo>
                  <a:pt x="8933" y="2110"/>
                  <a:pt x="8923" y="2107"/>
                  <a:pt x="8923" y="2107"/>
                </a:cubicBezTo>
                <a:cubicBezTo>
                  <a:pt x="8934" y="2103"/>
                  <a:pt x="8934" y="2103"/>
                  <a:pt x="8934" y="2103"/>
                </a:cubicBezTo>
                <a:cubicBezTo>
                  <a:pt x="8934" y="2084"/>
                  <a:pt x="8934" y="2084"/>
                  <a:pt x="8934" y="2084"/>
                </a:cubicBezTo>
                <a:cubicBezTo>
                  <a:pt x="8934" y="2084"/>
                  <a:pt x="8946" y="2097"/>
                  <a:pt x="8952" y="2089"/>
                </a:cubicBezTo>
                <a:cubicBezTo>
                  <a:pt x="8958" y="2081"/>
                  <a:pt x="8942" y="2071"/>
                  <a:pt x="8942" y="2071"/>
                </a:cubicBezTo>
                <a:cubicBezTo>
                  <a:pt x="8945" y="2058"/>
                  <a:pt x="8945" y="2058"/>
                  <a:pt x="8945" y="2058"/>
                </a:cubicBezTo>
                <a:cubicBezTo>
                  <a:pt x="8944" y="2035"/>
                  <a:pt x="8944" y="2035"/>
                  <a:pt x="8944" y="2035"/>
                </a:cubicBezTo>
                <a:cubicBezTo>
                  <a:pt x="8954" y="2037"/>
                  <a:pt x="8954" y="2037"/>
                  <a:pt x="8954" y="2037"/>
                </a:cubicBezTo>
                <a:cubicBezTo>
                  <a:pt x="8962" y="2028"/>
                  <a:pt x="8962" y="2028"/>
                  <a:pt x="8962" y="2028"/>
                </a:cubicBezTo>
                <a:cubicBezTo>
                  <a:pt x="8984" y="2030"/>
                  <a:pt x="8984" y="2030"/>
                  <a:pt x="8984" y="2030"/>
                </a:cubicBezTo>
                <a:cubicBezTo>
                  <a:pt x="8984" y="2030"/>
                  <a:pt x="8983" y="2025"/>
                  <a:pt x="8979" y="2017"/>
                </a:cubicBezTo>
                <a:cubicBezTo>
                  <a:pt x="8975" y="2009"/>
                  <a:pt x="8959" y="2016"/>
                  <a:pt x="8949" y="2016"/>
                </a:cubicBezTo>
                <a:cubicBezTo>
                  <a:pt x="8939" y="2016"/>
                  <a:pt x="8937" y="1998"/>
                  <a:pt x="8937" y="1998"/>
                </a:cubicBezTo>
                <a:cubicBezTo>
                  <a:pt x="8920" y="1980"/>
                  <a:pt x="8920" y="1980"/>
                  <a:pt x="8920" y="1980"/>
                </a:cubicBezTo>
                <a:cubicBezTo>
                  <a:pt x="8921" y="1971"/>
                  <a:pt x="8921" y="1971"/>
                  <a:pt x="8921" y="1971"/>
                </a:cubicBezTo>
                <a:cubicBezTo>
                  <a:pt x="8889" y="1944"/>
                  <a:pt x="8889" y="1944"/>
                  <a:pt x="8889" y="1944"/>
                </a:cubicBezTo>
                <a:cubicBezTo>
                  <a:pt x="8882" y="1941"/>
                  <a:pt x="8882" y="1941"/>
                  <a:pt x="8882" y="1941"/>
                </a:cubicBezTo>
                <a:cubicBezTo>
                  <a:pt x="8882" y="1941"/>
                  <a:pt x="8877" y="1927"/>
                  <a:pt x="8872" y="1919"/>
                </a:cubicBezTo>
                <a:cubicBezTo>
                  <a:pt x="8867" y="1911"/>
                  <a:pt x="8848" y="1907"/>
                  <a:pt x="8848" y="1907"/>
                </a:cubicBezTo>
                <a:cubicBezTo>
                  <a:pt x="8848" y="1892"/>
                  <a:pt x="8848" y="1892"/>
                  <a:pt x="8848" y="1892"/>
                </a:cubicBezTo>
                <a:cubicBezTo>
                  <a:pt x="8848" y="1892"/>
                  <a:pt x="8840" y="1888"/>
                  <a:pt x="8831" y="1877"/>
                </a:cubicBezTo>
                <a:cubicBezTo>
                  <a:pt x="8822" y="1866"/>
                  <a:pt x="8834" y="1852"/>
                  <a:pt x="8829" y="1839"/>
                </a:cubicBezTo>
                <a:cubicBezTo>
                  <a:pt x="8824" y="1826"/>
                  <a:pt x="8803" y="1812"/>
                  <a:pt x="8803" y="1812"/>
                </a:cubicBezTo>
                <a:cubicBezTo>
                  <a:pt x="8803" y="1812"/>
                  <a:pt x="8794" y="1811"/>
                  <a:pt x="8785" y="1806"/>
                </a:cubicBezTo>
                <a:cubicBezTo>
                  <a:pt x="8776" y="1801"/>
                  <a:pt x="8798" y="1780"/>
                  <a:pt x="8798" y="1780"/>
                </a:cubicBezTo>
                <a:cubicBezTo>
                  <a:pt x="8798" y="1780"/>
                  <a:pt x="8813" y="1767"/>
                  <a:pt x="8816" y="1760"/>
                </a:cubicBezTo>
                <a:cubicBezTo>
                  <a:pt x="8819" y="1753"/>
                  <a:pt x="8805" y="1738"/>
                  <a:pt x="8805" y="1738"/>
                </a:cubicBezTo>
                <a:cubicBezTo>
                  <a:pt x="8805" y="1738"/>
                  <a:pt x="8819" y="1744"/>
                  <a:pt x="8822" y="1744"/>
                </a:cubicBezTo>
                <a:cubicBezTo>
                  <a:pt x="8825" y="1744"/>
                  <a:pt x="8837" y="1743"/>
                  <a:pt x="8840" y="1737"/>
                </a:cubicBezTo>
                <a:cubicBezTo>
                  <a:pt x="8843" y="1731"/>
                  <a:pt x="8846" y="1737"/>
                  <a:pt x="8858" y="1735"/>
                </a:cubicBezTo>
                <a:cubicBezTo>
                  <a:pt x="8870" y="1733"/>
                  <a:pt x="8853" y="1720"/>
                  <a:pt x="8853" y="1720"/>
                </a:cubicBezTo>
                <a:cubicBezTo>
                  <a:pt x="8853" y="1720"/>
                  <a:pt x="8869" y="1721"/>
                  <a:pt x="8872" y="1721"/>
                </a:cubicBezTo>
                <a:cubicBezTo>
                  <a:pt x="8874" y="1721"/>
                  <a:pt x="8873" y="1711"/>
                  <a:pt x="8872" y="1708"/>
                </a:cubicBezTo>
                <a:cubicBezTo>
                  <a:pt x="8873" y="1708"/>
                  <a:pt x="8874" y="1709"/>
                  <a:pt x="8874" y="1709"/>
                </a:cubicBezTo>
                <a:cubicBezTo>
                  <a:pt x="8881" y="1699"/>
                  <a:pt x="8881" y="1699"/>
                  <a:pt x="8881" y="1699"/>
                </a:cubicBezTo>
                <a:cubicBezTo>
                  <a:pt x="8881" y="1699"/>
                  <a:pt x="8890" y="1701"/>
                  <a:pt x="8897" y="1694"/>
                </a:cubicBezTo>
                <a:cubicBezTo>
                  <a:pt x="8903" y="1687"/>
                  <a:pt x="8953" y="1666"/>
                  <a:pt x="8959" y="1669"/>
                </a:cubicBezTo>
                <a:cubicBezTo>
                  <a:pt x="8966" y="1671"/>
                  <a:pt x="8987" y="1687"/>
                  <a:pt x="8997" y="1687"/>
                </a:cubicBezTo>
                <a:cubicBezTo>
                  <a:pt x="9006" y="1687"/>
                  <a:pt x="9014" y="1669"/>
                  <a:pt x="9034" y="1694"/>
                </a:cubicBezTo>
                <a:cubicBezTo>
                  <a:pt x="9054" y="1719"/>
                  <a:pt x="9038" y="1727"/>
                  <a:pt x="9035" y="1735"/>
                </a:cubicBezTo>
                <a:cubicBezTo>
                  <a:pt x="9033" y="1743"/>
                  <a:pt x="9054" y="1759"/>
                  <a:pt x="9061" y="1762"/>
                </a:cubicBezTo>
                <a:cubicBezTo>
                  <a:pt x="9067" y="1765"/>
                  <a:pt x="9078" y="1750"/>
                  <a:pt x="9086" y="1746"/>
                </a:cubicBezTo>
                <a:cubicBezTo>
                  <a:pt x="9094" y="1742"/>
                  <a:pt x="9097" y="1755"/>
                  <a:pt x="9097" y="1763"/>
                </a:cubicBezTo>
                <a:cubicBezTo>
                  <a:pt x="9097" y="1771"/>
                  <a:pt x="9109" y="1781"/>
                  <a:pt x="9109" y="1781"/>
                </a:cubicBezTo>
                <a:cubicBezTo>
                  <a:pt x="9082" y="1782"/>
                  <a:pt x="9082" y="1782"/>
                  <a:pt x="9082" y="1782"/>
                </a:cubicBezTo>
                <a:cubicBezTo>
                  <a:pt x="9082" y="1782"/>
                  <a:pt x="9083" y="1802"/>
                  <a:pt x="9070" y="1793"/>
                </a:cubicBezTo>
                <a:cubicBezTo>
                  <a:pt x="9057" y="1783"/>
                  <a:pt x="9083" y="1770"/>
                  <a:pt x="9083" y="1770"/>
                </a:cubicBezTo>
                <a:cubicBezTo>
                  <a:pt x="9083" y="1770"/>
                  <a:pt x="9035" y="1767"/>
                  <a:pt x="9027" y="1765"/>
                </a:cubicBezTo>
                <a:cubicBezTo>
                  <a:pt x="9019" y="1762"/>
                  <a:pt x="8977" y="1754"/>
                  <a:pt x="8977" y="1754"/>
                </a:cubicBezTo>
                <a:cubicBezTo>
                  <a:pt x="8985" y="1777"/>
                  <a:pt x="8985" y="1777"/>
                  <a:pt x="8985" y="1777"/>
                </a:cubicBezTo>
                <a:cubicBezTo>
                  <a:pt x="8985" y="1777"/>
                  <a:pt x="8969" y="1770"/>
                  <a:pt x="8963" y="1783"/>
                </a:cubicBezTo>
                <a:cubicBezTo>
                  <a:pt x="8958" y="1797"/>
                  <a:pt x="8994" y="1798"/>
                  <a:pt x="8993" y="1806"/>
                </a:cubicBezTo>
                <a:cubicBezTo>
                  <a:pt x="8991" y="1814"/>
                  <a:pt x="8943" y="1789"/>
                  <a:pt x="8938" y="1801"/>
                </a:cubicBezTo>
                <a:cubicBezTo>
                  <a:pt x="8933" y="1813"/>
                  <a:pt x="8966" y="1821"/>
                  <a:pt x="8966" y="1821"/>
                </a:cubicBezTo>
                <a:cubicBezTo>
                  <a:pt x="8966" y="1821"/>
                  <a:pt x="8966" y="1829"/>
                  <a:pt x="8973" y="1837"/>
                </a:cubicBezTo>
                <a:cubicBezTo>
                  <a:pt x="8979" y="1845"/>
                  <a:pt x="8993" y="1861"/>
                  <a:pt x="8993" y="1861"/>
                </a:cubicBezTo>
                <a:cubicBezTo>
                  <a:pt x="8991" y="1875"/>
                  <a:pt x="8991" y="1875"/>
                  <a:pt x="8991" y="1875"/>
                </a:cubicBezTo>
                <a:cubicBezTo>
                  <a:pt x="9014" y="1878"/>
                  <a:pt x="9014" y="1878"/>
                  <a:pt x="9014" y="1878"/>
                </a:cubicBezTo>
                <a:cubicBezTo>
                  <a:pt x="9019" y="1893"/>
                  <a:pt x="9019" y="1893"/>
                  <a:pt x="9019" y="1893"/>
                </a:cubicBezTo>
                <a:cubicBezTo>
                  <a:pt x="9019" y="1893"/>
                  <a:pt x="9054" y="1893"/>
                  <a:pt x="9065" y="1903"/>
                </a:cubicBezTo>
                <a:cubicBezTo>
                  <a:pt x="9075" y="1914"/>
                  <a:pt x="9053" y="1925"/>
                  <a:pt x="9051" y="1935"/>
                </a:cubicBezTo>
                <a:cubicBezTo>
                  <a:pt x="9050" y="1946"/>
                  <a:pt x="9061" y="1947"/>
                  <a:pt x="9061" y="1947"/>
                </a:cubicBezTo>
                <a:cubicBezTo>
                  <a:pt x="9059" y="1953"/>
                  <a:pt x="9073" y="1967"/>
                  <a:pt x="9073" y="1967"/>
                </a:cubicBezTo>
                <a:cubicBezTo>
                  <a:pt x="9073" y="1967"/>
                  <a:pt x="9093" y="1991"/>
                  <a:pt x="9093" y="1995"/>
                </a:cubicBezTo>
                <a:cubicBezTo>
                  <a:pt x="9093" y="1999"/>
                  <a:pt x="9083" y="2010"/>
                  <a:pt x="9083" y="2015"/>
                </a:cubicBezTo>
                <a:cubicBezTo>
                  <a:pt x="9083" y="2021"/>
                  <a:pt x="9099" y="2046"/>
                  <a:pt x="9099" y="2046"/>
                </a:cubicBezTo>
                <a:cubicBezTo>
                  <a:pt x="9119" y="2043"/>
                  <a:pt x="9119" y="2043"/>
                  <a:pt x="9119" y="2043"/>
                </a:cubicBezTo>
                <a:cubicBezTo>
                  <a:pt x="9121" y="2061"/>
                  <a:pt x="9121" y="2061"/>
                  <a:pt x="9121" y="2061"/>
                </a:cubicBezTo>
                <a:cubicBezTo>
                  <a:pt x="9134" y="2067"/>
                  <a:pt x="9134" y="2067"/>
                  <a:pt x="9134" y="2067"/>
                </a:cubicBezTo>
                <a:cubicBezTo>
                  <a:pt x="9134" y="2067"/>
                  <a:pt x="9105" y="2066"/>
                  <a:pt x="9109" y="2075"/>
                </a:cubicBezTo>
                <a:cubicBezTo>
                  <a:pt x="9113" y="2085"/>
                  <a:pt x="9123" y="2079"/>
                  <a:pt x="9130" y="2082"/>
                </a:cubicBezTo>
                <a:cubicBezTo>
                  <a:pt x="9137" y="2085"/>
                  <a:pt x="9149" y="2098"/>
                  <a:pt x="9149" y="2098"/>
                </a:cubicBezTo>
                <a:cubicBezTo>
                  <a:pt x="9153" y="2133"/>
                  <a:pt x="9153" y="2133"/>
                  <a:pt x="9153" y="2133"/>
                </a:cubicBezTo>
                <a:cubicBezTo>
                  <a:pt x="9158" y="2135"/>
                  <a:pt x="9158" y="2135"/>
                  <a:pt x="9158" y="2135"/>
                </a:cubicBezTo>
                <a:cubicBezTo>
                  <a:pt x="9158" y="2135"/>
                  <a:pt x="9155" y="2149"/>
                  <a:pt x="9155" y="2157"/>
                </a:cubicBezTo>
                <a:cubicBezTo>
                  <a:pt x="9155" y="2165"/>
                  <a:pt x="9165" y="2186"/>
                  <a:pt x="9165" y="2186"/>
                </a:cubicBezTo>
                <a:cubicBezTo>
                  <a:pt x="9165" y="2186"/>
                  <a:pt x="9185" y="2212"/>
                  <a:pt x="9173" y="2214"/>
                </a:cubicBezTo>
                <a:close/>
                <a:moveTo>
                  <a:pt x="9387" y="1710"/>
                </a:moveTo>
                <a:cubicBezTo>
                  <a:pt x="9384" y="1716"/>
                  <a:pt x="9370" y="1720"/>
                  <a:pt x="9370" y="1720"/>
                </a:cubicBezTo>
                <a:cubicBezTo>
                  <a:pt x="9370" y="1720"/>
                  <a:pt x="9362" y="1727"/>
                  <a:pt x="9358" y="1731"/>
                </a:cubicBezTo>
                <a:cubicBezTo>
                  <a:pt x="9354" y="1735"/>
                  <a:pt x="9338" y="1730"/>
                  <a:pt x="9335" y="1732"/>
                </a:cubicBezTo>
                <a:cubicBezTo>
                  <a:pt x="9332" y="1734"/>
                  <a:pt x="9332" y="1745"/>
                  <a:pt x="9332" y="1745"/>
                </a:cubicBezTo>
                <a:cubicBezTo>
                  <a:pt x="9332" y="1745"/>
                  <a:pt x="9347" y="1751"/>
                  <a:pt x="9351" y="1752"/>
                </a:cubicBezTo>
                <a:cubicBezTo>
                  <a:pt x="9355" y="1753"/>
                  <a:pt x="9358" y="1762"/>
                  <a:pt x="9352" y="1771"/>
                </a:cubicBezTo>
                <a:cubicBezTo>
                  <a:pt x="9349" y="1775"/>
                  <a:pt x="9352" y="1781"/>
                  <a:pt x="9355" y="1788"/>
                </a:cubicBezTo>
                <a:cubicBezTo>
                  <a:pt x="9359" y="1797"/>
                  <a:pt x="9364" y="1806"/>
                  <a:pt x="9361" y="1811"/>
                </a:cubicBezTo>
                <a:cubicBezTo>
                  <a:pt x="9356" y="1820"/>
                  <a:pt x="9352" y="1825"/>
                  <a:pt x="9352" y="1825"/>
                </a:cubicBezTo>
                <a:cubicBezTo>
                  <a:pt x="9352" y="1825"/>
                  <a:pt x="9340" y="1826"/>
                  <a:pt x="9332" y="1820"/>
                </a:cubicBezTo>
                <a:cubicBezTo>
                  <a:pt x="9324" y="1814"/>
                  <a:pt x="9327" y="1805"/>
                  <a:pt x="9327" y="1805"/>
                </a:cubicBezTo>
                <a:cubicBezTo>
                  <a:pt x="9320" y="1786"/>
                  <a:pt x="9320" y="1786"/>
                  <a:pt x="9320" y="1786"/>
                </a:cubicBezTo>
                <a:cubicBezTo>
                  <a:pt x="9323" y="1773"/>
                  <a:pt x="9323" y="1773"/>
                  <a:pt x="9323" y="1773"/>
                </a:cubicBezTo>
                <a:cubicBezTo>
                  <a:pt x="9325" y="1764"/>
                  <a:pt x="9325" y="1764"/>
                  <a:pt x="9325" y="1764"/>
                </a:cubicBezTo>
                <a:cubicBezTo>
                  <a:pt x="9325" y="1764"/>
                  <a:pt x="9317" y="1749"/>
                  <a:pt x="9310" y="1744"/>
                </a:cubicBezTo>
                <a:cubicBezTo>
                  <a:pt x="9303" y="1739"/>
                  <a:pt x="9302" y="1736"/>
                  <a:pt x="9302" y="1736"/>
                </a:cubicBezTo>
                <a:cubicBezTo>
                  <a:pt x="9293" y="1750"/>
                  <a:pt x="9293" y="1750"/>
                  <a:pt x="9293" y="1750"/>
                </a:cubicBezTo>
                <a:cubicBezTo>
                  <a:pt x="9290" y="1757"/>
                  <a:pt x="9290" y="1757"/>
                  <a:pt x="9290" y="1757"/>
                </a:cubicBezTo>
                <a:cubicBezTo>
                  <a:pt x="9284" y="1770"/>
                  <a:pt x="9284" y="1770"/>
                  <a:pt x="9284" y="1770"/>
                </a:cubicBezTo>
                <a:cubicBezTo>
                  <a:pt x="9284" y="1770"/>
                  <a:pt x="9297" y="1778"/>
                  <a:pt x="9297" y="1787"/>
                </a:cubicBezTo>
                <a:cubicBezTo>
                  <a:pt x="9297" y="1796"/>
                  <a:pt x="9294" y="1795"/>
                  <a:pt x="9294" y="1795"/>
                </a:cubicBezTo>
                <a:cubicBezTo>
                  <a:pt x="9294" y="1795"/>
                  <a:pt x="9295" y="1805"/>
                  <a:pt x="9284" y="1807"/>
                </a:cubicBezTo>
                <a:cubicBezTo>
                  <a:pt x="9273" y="1809"/>
                  <a:pt x="9276" y="1789"/>
                  <a:pt x="9270" y="1787"/>
                </a:cubicBezTo>
                <a:cubicBezTo>
                  <a:pt x="9264" y="1785"/>
                  <a:pt x="9277" y="1771"/>
                  <a:pt x="9277" y="1771"/>
                </a:cubicBezTo>
                <a:cubicBezTo>
                  <a:pt x="9281" y="1753"/>
                  <a:pt x="9281" y="1753"/>
                  <a:pt x="9281" y="1753"/>
                </a:cubicBezTo>
                <a:cubicBezTo>
                  <a:pt x="9281" y="1752"/>
                  <a:pt x="9281" y="1752"/>
                  <a:pt x="9281" y="1752"/>
                </a:cubicBezTo>
                <a:cubicBezTo>
                  <a:pt x="9281" y="1752"/>
                  <a:pt x="9285" y="1740"/>
                  <a:pt x="9286" y="1730"/>
                </a:cubicBezTo>
                <a:cubicBezTo>
                  <a:pt x="9287" y="1720"/>
                  <a:pt x="9306" y="1725"/>
                  <a:pt x="9306" y="1725"/>
                </a:cubicBezTo>
                <a:cubicBezTo>
                  <a:pt x="9311" y="1740"/>
                  <a:pt x="9311" y="1740"/>
                  <a:pt x="9311" y="1740"/>
                </a:cubicBezTo>
                <a:cubicBezTo>
                  <a:pt x="9311" y="1740"/>
                  <a:pt x="9325" y="1734"/>
                  <a:pt x="9327" y="1731"/>
                </a:cubicBezTo>
                <a:cubicBezTo>
                  <a:pt x="9329" y="1728"/>
                  <a:pt x="9313" y="1710"/>
                  <a:pt x="9313" y="1710"/>
                </a:cubicBezTo>
                <a:cubicBezTo>
                  <a:pt x="9323" y="1710"/>
                  <a:pt x="9323" y="1710"/>
                  <a:pt x="9323" y="1710"/>
                </a:cubicBezTo>
                <a:cubicBezTo>
                  <a:pt x="9332" y="1719"/>
                  <a:pt x="9332" y="1719"/>
                  <a:pt x="9332" y="1719"/>
                </a:cubicBezTo>
                <a:cubicBezTo>
                  <a:pt x="9349" y="1718"/>
                  <a:pt x="9349" y="1718"/>
                  <a:pt x="9349" y="1718"/>
                </a:cubicBezTo>
                <a:cubicBezTo>
                  <a:pt x="9349" y="1718"/>
                  <a:pt x="9363" y="1722"/>
                  <a:pt x="9366" y="1718"/>
                </a:cubicBezTo>
                <a:cubicBezTo>
                  <a:pt x="9369" y="1714"/>
                  <a:pt x="9364" y="1710"/>
                  <a:pt x="9360" y="1710"/>
                </a:cubicBezTo>
                <a:cubicBezTo>
                  <a:pt x="9356" y="1710"/>
                  <a:pt x="9348" y="1705"/>
                  <a:pt x="9348" y="1705"/>
                </a:cubicBezTo>
                <a:cubicBezTo>
                  <a:pt x="9348" y="1705"/>
                  <a:pt x="9332" y="1709"/>
                  <a:pt x="9329" y="1699"/>
                </a:cubicBezTo>
                <a:cubicBezTo>
                  <a:pt x="9326" y="1689"/>
                  <a:pt x="9349" y="1691"/>
                  <a:pt x="9349" y="1691"/>
                </a:cubicBezTo>
                <a:cubicBezTo>
                  <a:pt x="9358" y="1683"/>
                  <a:pt x="9358" y="1683"/>
                  <a:pt x="9358" y="1683"/>
                </a:cubicBezTo>
                <a:cubicBezTo>
                  <a:pt x="9358" y="1683"/>
                  <a:pt x="9370" y="1700"/>
                  <a:pt x="9373" y="1700"/>
                </a:cubicBezTo>
                <a:cubicBezTo>
                  <a:pt x="9376" y="1700"/>
                  <a:pt x="9381" y="1694"/>
                  <a:pt x="9381" y="1694"/>
                </a:cubicBezTo>
                <a:cubicBezTo>
                  <a:pt x="9381" y="1694"/>
                  <a:pt x="9390" y="1704"/>
                  <a:pt x="9387" y="1710"/>
                </a:cubicBezTo>
                <a:close/>
                <a:moveTo>
                  <a:pt x="10130" y="1704"/>
                </a:moveTo>
                <a:cubicBezTo>
                  <a:pt x="10125" y="1709"/>
                  <a:pt x="10108" y="1705"/>
                  <a:pt x="10108" y="1705"/>
                </a:cubicBezTo>
                <a:cubicBezTo>
                  <a:pt x="10108" y="1705"/>
                  <a:pt x="10106" y="1711"/>
                  <a:pt x="10101" y="1712"/>
                </a:cubicBezTo>
                <a:cubicBezTo>
                  <a:pt x="10096" y="1713"/>
                  <a:pt x="10085" y="1703"/>
                  <a:pt x="10085" y="1703"/>
                </a:cubicBezTo>
                <a:cubicBezTo>
                  <a:pt x="10065" y="1706"/>
                  <a:pt x="10065" y="1706"/>
                  <a:pt x="10065" y="1706"/>
                </a:cubicBezTo>
                <a:cubicBezTo>
                  <a:pt x="10044" y="1702"/>
                  <a:pt x="10044" y="1702"/>
                  <a:pt x="10044" y="1702"/>
                </a:cubicBezTo>
                <a:cubicBezTo>
                  <a:pt x="10032" y="1703"/>
                  <a:pt x="10032" y="1703"/>
                  <a:pt x="10032" y="1703"/>
                </a:cubicBezTo>
                <a:cubicBezTo>
                  <a:pt x="10015" y="1698"/>
                  <a:pt x="10015" y="1698"/>
                  <a:pt x="10015" y="1698"/>
                </a:cubicBezTo>
                <a:cubicBezTo>
                  <a:pt x="10015" y="1698"/>
                  <a:pt x="10004" y="1699"/>
                  <a:pt x="9991" y="1699"/>
                </a:cubicBezTo>
                <a:cubicBezTo>
                  <a:pt x="9978" y="1699"/>
                  <a:pt x="9981" y="1693"/>
                  <a:pt x="9981" y="1693"/>
                </a:cubicBezTo>
                <a:cubicBezTo>
                  <a:pt x="9981" y="1693"/>
                  <a:pt x="9973" y="1701"/>
                  <a:pt x="9967" y="1703"/>
                </a:cubicBezTo>
                <a:cubicBezTo>
                  <a:pt x="9961" y="1705"/>
                  <a:pt x="9960" y="1715"/>
                  <a:pt x="9954" y="1723"/>
                </a:cubicBezTo>
                <a:cubicBezTo>
                  <a:pt x="9948" y="1731"/>
                  <a:pt x="9940" y="1728"/>
                  <a:pt x="9940" y="1728"/>
                </a:cubicBezTo>
                <a:cubicBezTo>
                  <a:pt x="9944" y="1746"/>
                  <a:pt x="9944" y="1746"/>
                  <a:pt x="9944" y="1746"/>
                </a:cubicBezTo>
                <a:cubicBezTo>
                  <a:pt x="9936" y="1753"/>
                  <a:pt x="9936" y="1753"/>
                  <a:pt x="9936" y="1753"/>
                </a:cubicBezTo>
                <a:cubicBezTo>
                  <a:pt x="9946" y="1764"/>
                  <a:pt x="9946" y="1764"/>
                  <a:pt x="9946" y="1764"/>
                </a:cubicBezTo>
                <a:cubicBezTo>
                  <a:pt x="9945" y="1781"/>
                  <a:pt x="9945" y="1781"/>
                  <a:pt x="9945" y="1781"/>
                </a:cubicBezTo>
                <a:cubicBezTo>
                  <a:pt x="9941" y="1780"/>
                  <a:pt x="9912" y="1746"/>
                  <a:pt x="9912" y="1746"/>
                </a:cubicBezTo>
                <a:cubicBezTo>
                  <a:pt x="9912" y="1746"/>
                  <a:pt x="9908" y="1731"/>
                  <a:pt x="9908" y="1720"/>
                </a:cubicBezTo>
                <a:cubicBezTo>
                  <a:pt x="9908" y="1709"/>
                  <a:pt x="9926" y="1706"/>
                  <a:pt x="9930" y="1705"/>
                </a:cubicBezTo>
                <a:cubicBezTo>
                  <a:pt x="9934" y="1704"/>
                  <a:pt x="9932" y="1693"/>
                  <a:pt x="9938" y="1687"/>
                </a:cubicBezTo>
                <a:cubicBezTo>
                  <a:pt x="9944" y="1681"/>
                  <a:pt x="9969" y="1687"/>
                  <a:pt x="9973" y="1687"/>
                </a:cubicBezTo>
                <a:cubicBezTo>
                  <a:pt x="9977" y="1687"/>
                  <a:pt x="9985" y="1681"/>
                  <a:pt x="9998" y="1682"/>
                </a:cubicBezTo>
                <a:cubicBezTo>
                  <a:pt x="10011" y="1683"/>
                  <a:pt x="10019" y="1690"/>
                  <a:pt x="10026" y="1691"/>
                </a:cubicBezTo>
                <a:cubicBezTo>
                  <a:pt x="10033" y="1692"/>
                  <a:pt x="10038" y="1695"/>
                  <a:pt x="10051" y="1697"/>
                </a:cubicBezTo>
                <a:cubicBezTo>
                  <a:pt x="10064" y="1699"/>
                  <a:pt x="10060" y="1688"/>
                  <a:pt x="10073" y="1688"/>
                </a:cubicBezTo>
                <a:cubicBezTo>
                  <a:pt x="10086" y="1688"/>
                  <a:pt x="10105" y="1693"/>
                  <a:pt x="10105" y="1693"/>
                </a:cubicBezTo>
                <a:cubicBezTo>
                  <a:pt x="10105" y="1693"/>
                  <a:pt x="10115" y="1684"/>
                  <a:pt x="10129" y="1682"/>
                </a:cubicBezTo>
                <a:cubicBezTo>
                  <a:pt x="10143" y="1680"/>
                  <a:pt x="10135" y="1699"/>
                  <a:pt x="10130" y="1704"/>
                </a:cubicBezTo>
                <a:close/>
                <a:moveTo>
                  <a:pt x="11182" y="1348"/>
                </a:moveTo>
                <a:cubicBezTo>
                  <a:pt x="11182" y="1348"/>
                  <a:pt x="11179" y="1362"/>
                  <a:pt x="11178" y="1365"/>
                </a:cubicBezTo>
                <a:cubicBezTo>
                  <a:pt x="11177" y="1368"/>
                  <a:pt x="11164" y="1375"/>
                  <a:pt x="11164" y="1375"/>
                </a:cubicBezTo>
                <a:cubicBezTo>
                  <a:pt x="11164" y="1375"/>
                  <a:pt x="11152" y="1381"/>
                  <a:pt x="11148" y="1381"/>
                </a:cubicBezTo>
                <a:cubicBezTo>
                  <a:pt x="11143" y="1381"/>
                  <a:pt x="11144" y="1393"/>
                  <a:pt x="11144" y="1393"/>
                </a:cubicBezTo>
                <a:cubicBezTo>
                  <a:pt x="11144" y="1393"/>
                  <a:pt x="11142" y="1386"/>
                  <a:pt x="11122" y="1393"/>
                </a:cubicBezTo>
                <a:cubicBezTo>
                  <a:pt x="11101" y="1399"/>
                  <a:pt x="11130" y="1409"/>
                  <a:pt x="11130" y="1409"/>
                </a:cubicBezTo>
                <a:cubicBezTo>
                  <a:pt x="11130" y="1409"/>
                  <a:pt x="11120" y="1417"/>
                  <a:pt x="11118" y="1426"/>
                </a:cubicBezTo>
                <a:cubicBezTo>
                  <a:pt x="11117" y="1436"/>
                  <a:pt x="11102" y="1427"/>
                  <a:pt x="11102" y="1427"/>
                </a:cubicBezTo>
                <a:cubicBezTo>
                  <a:pt x="11102" y="1427"/>
                  <a:pt x="11099" y="1441"/>
                  <a:pt x="11079" y="1441"/>
                </a:cubicBezTo>
                <a:cubicBezTo>
                  <a:pt x="11058" y="1441"/>
                  <a:pt x="11059" y="1436"/>
                  <a:pt x="11059" y="1436"/>
                </a:cubicBezTo>
                <a:cubicBezTo>
                  <a:pt x="11036" y="1430"/>
                  <a:pt x="11036" y="1430"/>
                  <a:pt x="11036" y="1430"/>
                </a:cubicBezTo>
                <a:cubicBezTo>
                  <a:pt x="11047" y="1424"/>
                  <a:pt x="11047" y="1424"/>
                  <a:pt x="11047" y="1424"/>
                </a:cubicBezTo>
                <a:cubicBezTo>
                  <a:pt x="11069" y="1424"/>
                  <a:pt x="11069" y="1424"/>
                  <a:pt x="11069" y="1424"/>
                </a:cubicBezTo>
                <a:cubicBezTo>
                  <a:pt x="11070" y="1419"/>
                  <a:pt x="11070" y="1419"/>
                  <a:pt x="11070" y="1419"/>
                </a:cubicBezTo>
                <a:cubicBezTo>
                  <a:pt x="11070" y="1419"/>
                  <a:pt x="11086" y="1419"/>
                  <a:pt x="11093" y="1412"/>
                </a:cubicBezTo>
                <a:cubicBezTo>
                  <a:pt x="11099" y="1406"/>
                  <a:pt x="11100" y="1387"/>
                  <a:pt x="11100" y="1387"/>
                </a:cubicBezTo>
                <a:cubicBezTo>
                  <a:pt x="11100" y="1387"/>
                  <a:pt x="11104" y="1386"/>
                  <a:pt x="11113" y="1384"/>
                </a:cubicBezTo>
                <a:cubicBezTo>
                  <a:pt x="11122" y="1382"/>
                  <a:pt x="11122" y="1366"/>
                  <a:pt x="11122" y="1366"/>
                </a:cubicBezTo>
                <a:cubicBezTo>
                  <a:pt x="11122" y="1366"/>
                  <a:pt x="11115" y="1362"/>
                  <a:pt x="11116" y="1356"/>
                </a:cubicBezTo>
                <a:cubicBezTo>
                  <a:pt x="11117" y="1351"/>
                  <a:pt x="11136" y="1334"/>
                  <a:pt x="11136" y="1334"/>
                </a:cubicBezTo>
                <a:cubicBezTo>
                  <a:pt x="11136" y="1323"/>
                  <a:pt x="11136" y="1323"/>
                  <a:pt x="11136" y="1323"/>
                </a:cubicBezTo>
                <a:cubicBezTo>
                  <a:pt x="11150" y="1310"/>
                  <a:pt x="11150" y="1310"/>
                  <a:pt x="11150" y="1310"/>
                </a:cubicBezTo>
                <a:cubicBezTo>
                  <a:pt x="11142" y="1299"/>
                  <a:pt x="11142" y="1299"/>
                  <a:pt x="11142" y="1299"/>
                </a:cubicBezTo>
                <a:cubicBezTo>
                  <a:pt x="11141" y="1246"/>
                  <a:pt x="11141" y="1246"/>
                  <a:pt x="11141" y="1246"/>
                </a:cubicBezTo>
                <a:cubicBezTo>
                  <a:pt x="11141" y="1246"/>
                  <a:pt x="11126" y="1224"/>
                  <a:pt x="11144" y="1219"/>
                </a:cubicBezTo>
                <a:cubicBezTo>
                  <a:pt x="11163" y="1215"/>
                  <a:pt x="11159" y="1240"/>
                  <a:pt x="11159" y="1240"/>
                </a:cubicBezTo>
                <a:cubicBezTo>
                  <a:pt x="11159" y="1240"/>
                  <a:pt x="11168" y="1247"/>
                  <a:pt x="11172" y="1262"/>
                </a:cubicBezTo>
                <a:cubicBezTo>
                  <a:pt x="11177" y="1278"/>
                  <a:pt x="11179" y="1288"/>
                  <a:pt x="11179" y="1288"/>
                </a:cubicBezTo>
                <a:cubicBezTo>
                  <a:pt x="11193" y="1307"/>
                  <a:pt x="11193" y="1307"/>
                  <a:pt x="11193" y="1307"/>
                </a:cubicBezTo>
                <a:cubicBezTo>
                  <a:pt x="11187" y="1318"/>
                  <a:pt x="11187" y="1318"/>
                  <a:pt x="11187" y="1318"/>
                </a:cubicBezTo>
                <a:cubicBezTo>
                  <a:pt x="11187" y="1318"/>
                  <a:pt x="11174" y="1324"/>
                  <a:pt x="11176" y="1331"/>
                </a:cubicBezTo>
                <a:cubicBezTo>
                  <a:pt x="11177" y="1339"/>
                  <a:pt x="11193" y="1330"/>
                  <a:pt x="11193" y="1330"/>
                </a:cubicBezTo>
                <a:cubicBezTo>
                  <a:pt x="11195" y="1341"/>
                  <a:pt x="11195" y="1341"/>
                  <a:pt x="11195" y="1341"/>
                </a:cubicBezTo>
                <a:lnTo>
                  <a:pt x="11182" y="1348"/>
                </a:lnTo>
                <a:close/>
                <a:moveTo>
                  <a:pt x="13036" y="1803"/>
                </a:moveTo>
                <a:cubicBezTo>
                  <a:pt x="13024" y="1842"/>
                  <a:pt x="13024" y="1842"/>
                  <a:pt x="13024" y="1842"/>
                </a:cubicBezTo>
                <a:cubicBezTo>
                  <a:pt x="13033" y="1839"/>
                  <a:pt x="13033" y="1839"/>
                  <a:pt x="13033" y="1839"/>
                </a:cubicBezTo>
                <a:cubicBezTo>
                  <a:pt x="13049" y="1812"/>
                  <a:pt x="13049" y="1812"/>
                  <a:pt x="13049" y="1812"/>
                </a:cubicBezTo>
                <a:lnTo>
                  <a:pt x="13036" y="1803"/>
                </a:lnTo>
                <a:close/>
                <a:moveTo>
                  <a:pt x="12612" y="2401"/>
                </a:moveTo>
                <a:cubicBezTo>
                  <a:pt x="12631" y="2434"/>
                  <a:pt x="12631" y="2434"/>
                  <a:pt x="12631" y="2434"/>
                </a:cubicBezTo>
                <a:cubicBezTo>
                  <a:pt x="12643" y="2428"/>
                  <a:pt x="12643" y="2428"/>
                  <a:pt x="12643" y="2428"/>
                </a:cubicBezTo>
                <a:cubicBezTo>
                  <a:pt x="12643" y="2428"/>
                  <a:pt x="12636" y="2409"/>
                  <a:pt x="12644" y="2413"/>
                </a:cubicBezTo>
                <a:cubicBezTo>
                  <a:pt x="12652" y="2417"/>
                  <a:pt x="12664" y="2438"/>
                  <a:pt x="12664" y="2438"/>
                </a:cubicBezTo>
                <a:cubicBezTo>
                  <a:pt x="12663" y="2463"/>
                  <a:pt x="12663" y="2463"/>
                  <a:pt x="12663" y="2463"/>
                </a:cubicBezTo>
                <a:cubicBezTo>
                  <a:pt x="12651" y="2468"/>
                  <a:pt x="12651" y="2468"/>
                  <a:pt x="12651" y="2468"/>
                </a:cubicBezTo>
                <a:cubicBezTo>
                  <a:pt x="12651" y="2468"/>
                  <a:pt x="12662" y="2515"/>
                  <a:pt x="12672" y="2517"/>
                </a:cubicBezTo>
                <a:cubicBezTo>
                  <a:pt x="12682" y="2519"/>
                  <a:pt x="12680" y="2487"/>
                  <a:pt x="12680" y="2487"/>
                </a:cubicBezTo>
                <a:cubicBezTo>
                  <a:pt x="12701" y="2494"/>
                  <a:pt x="12701" y="2494"/>
                  <a:pt x="12701" y="2494"/>
                </a:cubicBezTo>
                <a:cubicBezTo>
                  <a:pt x="12701" y="2494"/>
                  <a:pt x="12698" y="2521"/>
                  <a:pt x="12702" y="2521"/>
                </a:cubicBezTo>
                <a:cubicBezTo>
                  <a:pt x="12706" y="2521"/>
                  <a:pt x="12720" y="2497"/>
                  <a:pt x="12720" y="2497"/>
                </a:cubicBezTo>
                <a:cubicBezTo>
                  <a:pt x="12720" y="2497"/>
                  <a:pt x="12710" y="2461"/>
                  <a:pt x="12710" y="2450"/>
                </a:cubicBezTo>
                <a:cubicBezTo>
                  <a:pt x="12710" y="2439"/>
                  <a:pt x="12725" y="2430"/>
                  <a:pt x="12725" y="2430"/>
                </a:cubicBezTo>
                <a:cubicBezTo>
                  <a:pt x="12724" y="2418"/>
                  <a:pt x="12701" y="2403"/>
                  <a:pt x="12701" y="2403"/>
                </a:cubicBezTo>
                <a:cubicBezTo>
                  <a:pt x="12701" y="2403"/>
                  <a:pt x="12700" y="2393"/>
                  <a:pt x="12693" y="2390"/>
                </a:cubicBezTo>
                <a:cubicBezTo>
                  <a:pt x="12686" y="2387"/>
                  <a:pt x="12681" y="2389"/>
                  <a:pt x="12681" y="2389"/>
                </a:cubicBezTo>
                <a:cubicBezTo>
                  <a:pt x="12681" y="2389"/>
                  <a:pt x="12660" y="2375"/>
                  <a:pt x="12653" y="2375"/>
                </a:cubicBezTo>
                <a:cubicBezTo>
                  <a:pt x="12646" y="2375"/>
                  <a:pt x="12637" y="2387"/>
                  <a:pt x="12637" y="2387"/>
                </a:cubicBezTo>
                <a:lnTo>
                  <a:pt x="12612" y="2401"/>
                </a:lnTo>
                <a:close/>
                <a:moveTo>
                  <a:pt x="12893" y="2165"/>
                </a:moveTo>
                <a:cubicBezTo>
                  <a:pt x="12901" y="2164"/>
                  <a:pt x="12901" y="2164"/>
                  <a:pt x="12901" y="2164"/>
                </a:cubicBezTo>
                <a:cubicBezTo>
                  <a:pt x="12900" y="2148"/>
                  <a:pt x="12900" y="2148"/>
                  <a:pt x="12900" y="2148"/>
                </a:cubicBezTo>
                <a:cubicBezTo>
                  <a:pt x="12894" y="2146"/>
                  <a:pt x="12894" y="2146"/>
                  <a:pt x="12894" y="2146"/>
                </a:cubicBezTo>
                <a:cubicBezTo>
                  <a:pt x="12884" y="2133"/>
                  <a:pt x="12884" y="2133"/>
                  <a:pt x="12884" y="2133"/>
                </a:cubicBezTo>
                <a:cubicBezTo>
                  <a:pt x="12880" y="2141"/>
                  <a:pt x="12880" y="2141"/>
                  <a:pt x="12880" y="2141"/>
                </a:cubicBezTo>
                <a:cubicBezTo>
                  <a:pt x="12888" y="2150"/>
                  <a:pt x="12888" y="2150"/>
                  <a:pt x="12888" y="2150"/>
                </a:cubicBezTo>
                <a:lnTo>
                  <a:pt x="12893" y="2165"/>
                </a:lnTo>
                <a:close/>
                <a:moveTo>
                  <a:pt x="12653" y="2749"/>
                </a:moveTo>
                <a:cubicBezTo>
                  <a:pt x="12643" y="2759"/>
                  <a:pt x="12634" y="2791"/>
                  <a:pt x="12634" y="2791"/>
                </a:cubicBezTo>
                <a:cubicBezTo>
                  <a:pt x="12647" y="2794"/>
                  <a:pt x="12647" y="2794"/>
                  <a:pt x="12647" y="2794"/>
                </a:cubicBezTo>
                <a:cubicBezTo>
                  <a:pt x="12647" y="2794"/>
                  <a:pt x="12659" y="2773"/>
                  <a:pt x="12655" y="2773"/>
                </a:cubicBezTo>
                <a:cubicBezTo>
                  <a:pt x="12651" y="2773"/>
                  <a:pt x="12667" y="2755"/>
                  <a:pt x="12667" y="2755"/>
                </a:cubicBezTo>
                <a:cubicBezTo>
                  <a:pt x="12667" y="2755"/>
                  <a:pt x="12662" y="2738"/>
                  <a:pt x="12653" y="2749"/>
                </a:cubicBezTo>
                <a:close/>
                <a:moveTo>
                  <a:pt x="12661" y="2713"/>
                </a:moveTo>
                <a:cubicBezTo>
                  <a:pt x="12663" y="2725"/>
                  <a:pt x="12663" y="2725"/>
                  <a:pt x="12663" y="2725"/>
                </a:cubicBezTo>
                <a:cubicBezTo>
                  <a:pt x="12678" y="2725"/>
                  <a:pt x="12678" y="2725"/>
                  <a:pt x="12678" y="2725"/>
                </a:cubicBezTo>
                <a:lnTo>
                  <a:pt x="12661" y="2713"/>
                </a:lnTo>
                <a:close/>
                <a:moveTo>
                  <a:pt x="13004" y="1819"/>
                </a:moveTo>
                <a:cubicBezTo>
                  <a:pt x="12997" y="1813"/>
                  <a:pt x="12992" y="1837"/>
                  <a:pt x="12992" y="1837"/>
                </a:cubicBezTo>
                <a:cubicBezTo>
                  <a:pt x="12992" y="1837"/>
                  <a:pt x="12924" y="1821"/>
                  <a:pt x="12909" y="1810"/>
                </a:cubicBezTo>
                <a:cubicBezTo>
                  <a:pt x="12893" y="1799"/>
                  <a:pt x="12819" y="1741"/>
                  <a:pt x="12809" y="1752"/>
                </a:cubicBezTo>
                <a:cubicBezTo>
                  <a:pt x="12799" y="1763"/>
                  <a:pt x="12841" y="1798"/>
                  <a:pt x="12841" y="1798"/>
                </a:cubicBezTo>
                <a:cubicBezTo>
                  <a:pt x="12843" y="1813"/>
                  <a:pt x="12843" y="1813"/>
                  <a:pt x="12843" y="1813"/>
                </a:cubicBezTo>
                <a:cubicBezTo>
                  <a:pt x="12843" y="1813"/>
                  <a:pt x="12860" y="1824"/>
                  <a:pt x="12860" y="1831"/>
                </a:cubicBezTo>
                <a:cubicBezTo>
                  <a:pt x="12860" y="1838"/>
                  <a:pt x="12853" y="1851"/>
                  <a:pt x="12853" y="1851"/>
                </a:cubicBezTo>
                <a:cubicBezTo>
                  <a:pt x="12853" y="1851"/>
                  <a:pt x="12871" y="1873"/>
                  <a:pt x="12866" y="1874"/>
                </a:cubicBezTo>
                <a:cubicBezTo>
                  <a:pt x="12860" y="1875"/>
                  <a:pt x="12828" y="1866"/>
                  <a:pt x="12823" y="1864"/>
                </a:cubicBezTo>
                <a:cubicBezTo>
                  <a:pt x="12817" y="1863"/>
                  <a:pt x="12838" y="1884"/>
                  <a:pt x="12838" y="1884"/>
                </a:cubicBezTo>
                <a:cubicBezTo>
                  <a:pt x="12821" y="1902"/>
                  <a:pt x="12821" y="1902"/>
                  <a:pt x="12821" y="1902"/>
                </a:cubicBezTo>
                <a:cubicBezTo>
                  <a:pt x="12821" y="1902"/>
                  <a:pt x="12827" y="1914"/>
                  <a:pt x="12830" y="1920"/>
                </a:cubicBezTo>
                <a:cubicBezTo>
                  <a:pt x="12832" y="1925"/>
                  <a:pt x="12859" y="1939"/>
                  <a:pt x="12859" y="1939"/>
                </a:cubicBezTo>
                <a:cubicBezTo>
                  <a:pt x="12859" y="1939"/>
                  <a:pt x="12850" y="1972"/>
                  <a:pt x="12873" y="1971"/>
                </a:cubicBezTo>
                <a:cubicBezTo>
                  <a:pt x="12883" y="1970"/>
                  <a:pt x="12867" y="1952"/>
                  <a:pt x="12879" y="1952"/>
                </a:cubicBezTo>
                <a:cubicBezTo>
                  <a:pt x="12892" y="1952"/>
                  <a:pt x="12902" y="1952"/>
                  <a:pt x="12902" y="1952"/>
                </a:cubicBezTo>
                <a:cubicBezTo>
                  <a:pt x="12906" y="1946"/>
                  <a:pt x="12906" y="1946"/>
                  <a:pt x="12906" y="1946"/>
                </a:cubicBezTo>
                <a:cubicBezTo>
                  <a:pt x="12881" y="1930"/>
                  <a:pt x="12881" y="1930"/>
                  <a:pt x="12881" y="1930"/>
                </a:cubicBezTo>
                <a:cubicBezTo>
                  <a:pt x="12868" y="1930"/>
                  <a:pt x="12868" y="1930"/>
                  <a:pt x="12868" y="1930"/>
                </a:cubicBezTo>
                <a:cubicBezTo>
                  <a:pt x="12868" y="1930"/>
                  <a:pt x="12834" y="1917"/>
                  <a:pt x="12850" y="1910"/>
                </a:cubicBezTo>
                <a:cubicBezTo>
                  <a:pt x="12867" y="1903"/>
                  <a:pt x="12878" y="1920"/>
                  <a:pt x="12878" y="1920"/>
                </a:cubicBezTo>
                <a:cubicBezTo>
                  <a:pt x="12878" y="1920"/>
                  <a:pt x="12892" y="1909"/>
                  <a:pt x="12902" y="1907"/>
                </a:cubicBezTo>
                <a:cubicBezTo>
                  <a:pt x="12911" y="1906"/>
                  <a:pt x="12982" y="1943"/>
                  <a:pt x="12988" y="1939"/>
                </a:cubicBezTo>
                <a:cubicBezTo>
                  <a:pt x="12993" y="1935"/>
                  <a:pt x="12974" y="1896"/>
                  <a:pt x="12992" y="1889"/>
                </a:cubicBezTo>
                <a:cubicBezTo>
                  <a:pt x="13010" y="1882"/>
                  <a:pt x="13008" y="1898"/>
                  <a:pt x="13026" y="1888"/>
                </a:cubicBezTo>
                <a:cubicBezTo>
                  <a:pt x="13044" y="1878"/>
                  <a:pt x="13047" y="1871"/>
                  <a:pt x="13047" y="1871"/>
                </a:cubicBezTo>
                <a:cubicBezTo>
                  <a:pt x="13011" y="1848"/>
                  <a:pt x="13011" y="1848"/>
                  <a:pt x="13011" y="1848"/>
                </a:cubicBezTo>
                <a:cubicBezTo>
                  <a:pt x="13011" y="1848"/>
                  <a:pt x="13011" y="1824"/>
                  <a:pt x="13004" y="1819"/>
                </a:cubicBezTo>
                <a:close/>
                <a:moveTo>
                  <a:pt x="8625" y="4453"/>
                </a:moveTo>
                <a:cubicBezTo>
                  <a:pt x="8617" y="4461"/>
                  <a:pt x="8617" y="4488"/>
                  <a:pt x="8630" y="4486"/>
                </a:cubicBezTo>
                <a:cubicBezTo>
                  <a:pt x="8646" y="4484"/>
                  <a:pt x="8632" y="4445"/>
                  <a:pt x="8625" y="4453"/>
                </a:cubicBezTo>
                <a:close/>
                <a:moveTo>
                  <a:pt x="8607" y="4500"/>
                </a:moveTo>
                <a:cubicBezTo>
                  <a:pt x="8591" y="4500"/>
                  <a:pt x="8601" y="4527"/>
                  <a:pt x="8601" y="4527"/>
                </a:cubicBezTo>
                <a:cubicBezTo>
                  <a:pt x="8601" y="4527"/>
                  <a:pt x="8617" y="4545"/>
                  <a:pt x="8627" y="4543"/>
                </a:cubicBezTo>
                <a:cubicBezTo>
                  <a:pt x="8636" y="4541"/>
                  <a:pt x="8619" y="4521"/>
                  <a:pt x="8619" y="4521"/>
                </a:cubicBezTo>
                <a:cubicBezTo>
                  <a:pt x="8619" y="4521"/>
                  <a:pt x="8623" y="4500"/>
                  <a:pt x="8607" y="4500"/>
                </a:cubicBezTo>
                <a:close/>
                <a:moveTo>
                  <a:pt x="9132" y="4961"/>
                </a:moveTo>
                <a:cubicBezTo>
                  <a:pt x="9132" y="4961"/>
                  <a:pt x="9109" y="4913"/>
                  <a:pt x="9109" y="4907"/>
                </a:cubicBezTo>
                <a:cubicBezTo>
                  <a:pt x="9109" y="4902"/>
                  <a:pt x="9109" y="4892"/>
                  <a:pt x="9109" y="4892"/>
                </a:cubicBezTo>
                <a:cubicBezTo>
                  <a:pt x="9073" y="4851"/>
                  <a:pt x="9073" y="4851"/>
                  <a:pt x="9073" y="4851"/>
                </a:cubicBezTo>
                <a:cubicBezTo>
                  <a:pt x="9052" y="4877"/>
                  <a:pt x="9052" y="4877"/>
                  <a:pt x="9052" y="4877"/>
                </a:cubicBezTo>
                <a:cubicBezTo>
                  <a:pt x="9052" y="4877"/>
                  <a:pt x="9054" y="4900"/>
                  <a:pt x="9049" y="4913"/>
                </a:cubicBezTo>
                <a:cubicBezTo>
                  <a:pt x="9043" y="4925"/>
                  <a:pt x="9025" y="4939"/>
                  <a:pt x="9025" y="4939"/>
                </a:cubicBezTo>
                <a:cubicBezTo>
                  <a:pt x="9025" y="4939"/>
                  <a:pt x="9015" y="4932"/>
                  <a:pt x="9008" y="4939"/>
                </a:cubicBezTo>
                <a:cubicBezTo>
                  <a:pt x="9001" y="4946"/>
                  <a:pt x="9015" y="4966"/>
                  <a:pt x="9006" y="4977"/>
                </a:cubicBezTo>
                <a:cubicBezTo>
                  <a:pt x="8997" y="4987"/>
                  <a:pt x="8992" y="4989"/>
                  <a:pt x="8992" y="4989"/>
                </a:cubicBezTo>
                <a:cubicBezTo>
                  <a:pt x="8992" y="4989"/>
                  <a:pt x="8988" y="4969"/>
                  <a:pt x="8981" y="4975"/>
                </a:cubicBezTo>
                <a:cubicBezTo>
                  <a:pt x="8974" y="4980"/>
                  <a:pt x="8976" y="5010"/>
                  <a:pt x="8976" y="5010"/>
                </a:cubicBezTo>
                <a:cubicBezTo>
                  <a:pt x="8967" y="5037"/>
                  <a:pt x="8967" y="5037"/>
                  <a:pt x="8967" y="5037"/>
                </a:cubicBezTo>
                <a:cubicBezTo>
                  <a:pt x="8962" y="5023"/>
                  <a:pt x="8962" y="5023"/>
                  <a:pt x="8962" y="5023"/>
                </a:cubicBezTo>
                <a:cubicBezTo>
                  <a:pt x="8960" y="5001"/>
                  <a:pt x="8960" y="5001"/>
                  <a:pt x="8960" y="5001"/>
                </a:cubicBezTo>
                <a:cubicBezTo>
                  <a:pt x="8951" y="5023"/>
                  <a:pt x="8951" y="5023"/>
                  <a:pt x="8951" y="5023"/>
                </a:cubicBezTo>
                <a:cubicBezTo>
                  <a:pt x="8953" y="5044"/>
                  <a:pt x="8953" y="5044"/>
                  <a:pt x="8953" y="5044"/>
                </a:cubicBezTo>
                <a:cubicBezTo>
                  <a:pt x="8923" y="5039"/>
                  <a:pt x="8923" y="5039"/>
                  <a:pt x="8923" y="5039"/>
                </a:cubicBezTo>
                <a:cubicBezTo>
                  <a:pt x="8910" y="5058"/>
                  <a:pt x="8910" y="5058"/>
                  <a:pt x="8910" y="5058"/>
                </a:cubicBezTo>
                <a:cubicBezTo>
                  <a:pt x="8871" y="5053"/>
                  <a:pt x="8871" y="5053"/>
                  <a:pt x="8871" y="5053"/>
                </a:cubicBezTo>
                <a:cubicBezTo>
                  <a:pt x="8871" y="5069"/>
                  <a:pt x="8871" y="5069"/>
                  <a:pt x="8871" y="5069"/>
                </a:cubicBezTo>
                <a:cubicBezTo>
                  <a:pt x="8841" y="5065"/>
                  <a:pt x="8841" y="5065"/>
                  <a:pt x="8841" y="5065"/>
                </a:cubicBezTo>
                <a:cubicBezTo>
                  <a:pt x="8825" y="5070"/>
                  <a:pt x="8825" y="5070"/>
                  <a:pt x="8825" y="5070"/>
                </a:cubicBezTo>
                <a:cubicBezTo>
                  <a:pt x="8831" y="5090"/>
                  <a:pt x="8831" y="5090"/>
                  <a:pt x="8831" y="5090"/>
                </a:cubicBezTo>
                <a:cubicBezTo>
                  <a:pt x="8831" y="5090"/>
                  <a:pt x="8818" y="5110"/>
                  <a:pt x="8804" y="5122"/>
                </a:cubicBezTo>
                <a:cubicBezTo>
                  <a:pt x="8790" y="5134"/>
                  <a:pt x="8806" y="5178"/>
                  <a:pt x="8808" y="5200"/>
                </a:cubicBezTo>
                <a:cubicBezTo>
                  <a:pt x="8809" y="5221"/>
                  <a:pt x="8816" y="5287"/>
                  <a:pt x="8816" y="5287"/>
                </a:cubicBezTo>
                <a:cubicBezTo>
                  <a:pt x="8816" y="5287"/>
                  <a:pt x="8792" y="5304"/>
                  <a:pt x="8776" y="5324"/>
                </a:cubicBezTo>
                <a:cubicBezTo>
                  <a:pt x="8760" y="5343"/>
                  <a:pt x="8737" y="5341"/>
                  <a:pt x="8742" y="5407"/>
                </a:cubicBezTo>
                <a:cubicBezTo>
                  <a:pt x="8747" y="5473"/>
                  <a:pt x="8778" y="5510"/>
                  <a:pt x="8778" y="5510"/>
                </a:cubicBezTo>
                <a:cubicBezTo>
                  <a:pt x="8765" y="5526"/>
                  <a:pt x="8765" y="5526"/>
                  <a:pt x="8765" y="5526"/>
                </a:cubicBezTo>
                <a:cubicBezTo>
                  <a:pt x="8765" y="5526"/>
                  <a:pt x="8767" y="5540"/>
                  <a:pt x="8797" y="5568"/>
                </a:cubicBezTo>
                <a:cubicBezTo>
                  <a:pt x="8827" y="5597"/>
                  <a:pt x="8870" y="5561"/>
                  <a:pt x="8870" y="5561"/>
                </a:cubicBezTo>
                <a:cubicBezTo>
                  <a:pt x="8870" y="5561"/>
                  <a:pt x="8878" y="5566"/>
                  <a:pt x="8886" y="5563"/>
                </a:cubicBezTo>
                <a:cubicBezTo>
                  <a:pt x="8893" y="5559"/>
                  <a:pt x="8902" y="5550"/>
                  <a:pt x="8926" y="5527"/>
                </a:cubicBezTo>
                <a:cubicBezTo>
                  <a:pt x="8951" y="5504"/>
                  <a:pt x="8948" y="5460"/>
                  <a:pt x="8948" y="5460"/>
                </a:cubicBezTo>
                <a:cubicBezTo>
                  <a:pt x="8948" y="5460"/>
                  <a:pt x="8965" y="5398"/>
                  <a:pt x="9004" y="5329"/>
                </a:cubicBezTo>
                <a:cubicBezTo>
                  <a:pt x="9043" y="5260"/>
                  <a:pt x="9068" y="5187"/>
                  <a:pt x="9075" y="5163"/>
                </a:cubicBezTo>
                <a:cubicBezTo>
                  <a:pt x="9082" y="5138"/>
                  <a:pt x="9068" y="5124"/>
                  <a:pt x="9070" y="5110"/>
                </a:cubicBezTo>
                <a:cubicBezTo>
                  <a:pt x="9072" y="5096"/>
                  <a:pt x="9095" y="5072"/>
                  <a:pt x="9095" y="5072"/>
                </a:cubicBezTo>
                <a:cubicBezTo>
                  <a:pt x="9091" y="5044"/>
                  <a:pt x="9091" y="5044"/>
                  <a:pt x="9091" y="5044"/>
                </a:cubicBezTo>
                <a:cubicBezTo>
                  <a:pt x="9112" y="5039"/>
                  <a:pt x="9112" y="5039"/>
                  <a:pt x="9112" y="5039"/>
                </a:cubicBezTo>
                <a:cubicBezTo>
                  <a:pt x="9112" y="5039"/>
                  <a:pt x="9132" y="5049"/>
                  <a:pt x="9139" y="5044"/>
                </a:cubicBezTo>
                <a:cubicBezTo>
                  <a:pt x="9146" y="5039"/>
                  <a:pt x="9119" y="4994"/>
                  <a:pt x="9119" y="4994"/>
                </a:cubicBezTo>
                <a:lnTo>
                  <a:pt x="9132" y="4961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n-US"/>
          </a:p>
        </p:txBody>
      </p:sp>
      <p:cxnSp>
        <p:nvCxnSpPr>
          <p:cNvPr id="11" name="AutoShape 11"/>
          <p:cNvCxnSpPr>
            <a:cxnSpLocks noChangeShapeType="1"/>
            <a:endCxn id="3" idx="0"/>
          </p:cNvCxnSpPr>
          <p:nvPr>
            <p:custDataLst>
              <p:tags r:id="rId5"/>
            </p:custDataLst>
          </p:nvPr>
        </p:nvCxnSpPr>
        <p:spPr bwMode="auto">
          <a:xfrm>
            <a:off x="972459" y="2837163"/>
            <a:ext cx="1666327" cy="1610219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5" name="AutoShape 15"/>
          <p:cNvCxnSpPr>
            <a:cxnSpLocks noChangeShapeType="1"/>
            <a:stCxn id="3" idx="0"/>
          </p:cNvCxnSpPr>
          <p:nvPr>
            <p:custDataLst>
              <p:tags r:id="rId6"/>
            </p:custDataLst>
          </p:nvPr>
        </p:nvCxnSpPr>
        <p:spPr bwMode="auto">
          <a:xfrm flipV="1">
            <a:off x="2638771" y="2936411"/>
            <a:ext cx="100356" cy="151098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6" name="AutoShape 16"/>
          <p:cNvCxnSpPr>
            <a:cxnSpLocks noChangeShapeType="1"/>
            <a:stCxn id="3" idx="0"/>
          </p:cNvCxnSpPr>
          <p:nvPr>
            <p:custDataLst>
              <p:tags r:id="rId7"/>
            </p:custDataLst>
          </p:nvPr>
        </p:nvCxnSpPr>
        <p:spPr bwMode="auto">
          <a:xfrm flipH="1" flipV="1">
            <a:off x="2300891" y="2459687"/>
            <a:ext cx="337895" cy="198769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7" name="AutoShape 17"/>
          <p:cNvCxnSpPr>
            <a:cxnSpLocks noChangeShapeType="1"/>
            <a:stCxn id="3" idx="0"/>
          </p:cNvCxnSpPr>
          <p:nvPr>
            <p:custDataLst>
              <p:tags r:id="rId8"/>
            </p:custDataLst>
          </p:nvPr>
        </p:nvCxnSpPr>
        <p:spPr bwMode="auto">
          <a:xfrm flipH="1" flipV="1">
            <a:off x="1573213" y="3693971"/>
            <a:ext cx="1065558" cy="75340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8" name="AutoShape 18"/>
          <p:cNvCxnSpPr>
            <a:cxnSpLocks noChangeShapeType="1"/>
            <a:stCxn id="3" idx="0"/>
          </p:cNvCxnSpPr>
          <p:nvPr>
            <p:custDataLst>
              <p:tags r:id="rId9"/>
            </p:custDataLst>
          </p:nvPr>
        </p:nvCxnSpPr>
        <p:spPr bwMode="auto">
          <a:xfrm flipH="1" flipV="1">
            <a:off x="1086745" y="2418923"/>
            <a:ext cx="1552026" cy="2028456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9" name="AutoShape 19"/>
          <p:cNvCxnSpPr>
            <a:cxnSpLocks noChangeShapeType="1"/>
            <a:stCxn id="3" idx="0"/>
          </p:cNvCxnSpPr>
          <p:nvPr>
            <p:custDataLst>
              <p:tags r:id="rId10"/>
            </p:custDataLst>
          </p:nvPr>
        </p:nvCxnSpPr>
        <p:spPr bwMode="auto">
          <a:xfrm flipH="1" flipV="1">
            <a:off x="2596653" y="2508091"/>
            <a:ext cx="42118" cy="19392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0" name="AutoShape 20"/>
          <p:cNvCxnSpPr>
            <a:cxnSpLocks noChangeShapeType="1"/>
            <a:stCxn id="3" idx="0"/>
          </p:cNvCxnSpPr>
          <p:nvPr>
            <p:custDataLst>
              <p:tags r:id="rId11"/>
            </p:custDataLst>
          </p:nvPr>
        </p:nvCxnSpPr>
        <p:spPr bwMode="auto">
          <a:xfrm flipH="1" flipV="1">
            <a:off x="2216165" y="3020531"/>
            <a:ext cx="422621" cy="142684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" name="AutoShape 21"/>
          <p:cNvCxnSpPr>
            <a:cxnSpLocks noChangeShapeType="1"/>
            <a:stCxn id="3" idx="0"/>
          </p:cNvCxnSpPr>
          <p:nvPr>
            <p:custDataLst>
              <p:tags r:id="rId12"/>
            </p:custDataLst>
          </p:nvPr>
        </p:nvCxnSpPr>
        <p:spPr bwMode="auto">
          <a:xfrm flipH="1" flipV="1">
            <a:off x="2613039" y="3860028"/>
            <a:ext cx="25747" cy="587359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2" name="AutoShape 22"/>
          <p:cNvCxnSpPr>
            <a:cxnSpLocks noChangeShapeType="1"/>
            <a:stCxn id="3" idx="0"/>
          </p:cNvCxnSpPr>
          <p:nvPr>
            <p:custDataLst>
              <p:tags r:id="rId13"/>
            </p:custDataLst>
          </p:nvPr>
        </p:nvCxnSpPr>
        <p:spPr bwMode="auto">
          <a:xfrm flipV="1">
            <a:off x="2638776" y="2755497"/>
            <a:ext cx="1156249" cy="169188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7" name="Text Box 2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097269" y="5237060"/>
            <a:ext cx="2998787" cy="4330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100" dirty="0"/>
              <a:t>Apply similar approach to hundreds of products on a daily basis</a:t>
            </a:r>
          </a:p>
        </p:txBody>
      </p:sp>
      <p:sp>
        <p:nvSpPr>
          <p:cNvPr id="46" name="Oval 4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381520" y="5943600"/>
            <a:ext cx="2367785" cy="533400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90000" tIns="46800" rIns="90000" bIns="46800" anchor="ctr"/>
          <a:lstStyle/>
          <a:p>
            <a:pPr algn="ctr"/>
            <a:r>
              <a:rPr lang="en-US" sz="1400" b="1" i="0" dirty="0" smtClean="0"/>
              <a:t>PPP Indices</a:t>
            </a:r>
            <a:endParaRPr lang="en-US" sz="1400" b="1" i="0" dirty="0"/>
          </a:p>
        </p:txBody>
      </p:sp>
      <p:sp>
        <p:nvSpPr>
          <p:cNvPr id="47" name="AutoShape 47"/>
          <p:cNvSpPr>
            <a:spLocks noChangeArrowheads="1"/>
          </p:cNvSpPr>
          <p:nvPr/>
        </p:nvSpPr>
        <p:spPr bwMode="auto">
          <a:xfrm rot="10800000">
            <a:off x="2063751" y="5024443"/>
            <a:ext cx="1136650" cy="233363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endParaRPr lang="en-US"/>
          </a:p>
        </p:txBody>
      </p:sp>
      <p:sp>
        <p:nvSpPr>
          <p:cNvPr id="48" name="AutoShape 48"/>
          <p:cNvSpPr>
            <a:spLocks noChangeArrowheads="1"/>
          </p:cNvSpPr>
          <p:nvPr/>
        </p:nvSpPr>
        <p:spPr bwMode="auto">
          <a:xfrm rot="10800000">
            <a:off x="2063751" y="5741639"/>
            <a:ext cx="1136650" cy="233363"/>
          </a:xfrm>
          <a:prstGeom prst="triangle">
            <a:avLst>
              <a:gd name="adj" fmla="val 50000"/>
            </a:avLst>
          </a:prstGeom>
          <a:ln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endParaRPr lang="en-US"/>
          </a:p>
        </p:txBody>
      </p:sp>
      <p:sp>
        <p:nvSpPr>
          <p:cNvPr id="49" name="Slide Number Placeholder 3"/>
          <p:cNvSpPr txBox="1">
            <a:spLocks noGrp="1"/>
          </p:cNvSpPr>
          <p:nvPr/>
        </p:nvSpPr>
        <p:spPr bwMode="auto">
          <a:xfrm>
            <a:off x="8976519" y="7265201"/>
            <a:ext cx="5381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/>
            <a:fld id="{3D4BBE24-4FBE-4E98-B465-3D70FF11F132}" type="slidenum">
              <a:rPr lang="en-US" i="0"/>
              <a:pPr algn="r"/>
              <a:t>20</a:t>
            </a:fld>
            <a:endParaRPr lang="en-US" i="0"/>
          </a:p>
        </p:txBody>
      </p:sp>
      <p:cxnSp>
        <p:nvCxnSpPr>
          <p:cNvPr id="86" name="AutoShape 22"/>
          <p:cNvCxnSpPr>
            <a:cxnSpLocks noChangeShapeType="1"/>
            <a:stCxn id="3" idx="0"/>
          </p:cNvCxnSpPr>
          <p:nvPr>
            <p:custDataLst>
              <p:tags r:id="rId16"/>
            </p:custDataLst>
          </p:nvPr>
        </p:nvCxnSpPr>
        <p:spPr bwMode="auto">
          <a:xfrm flipV="1">
            <a:off x="2638773" y="2833602"/>
            <a:ext cx="1257646" cy="1613779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89" name="AutoShape 22"/>
          <p:cNvCxnSpPr>
            <a:cxnSpLocks noChangeShapeType="1"/>
            <a:stCxn id="3" idx="0"/>
          </p:cNvCxnSpPr>
          <p:nvPr>
            <p:custDataLst>
              <p:tags r:id="rId17"/>
            </p:custDataLst>
          </p:nvPr>
        </p:nvCxnSpPr>
        <p:spPr bwMode="auto">
          <a:xfrm flipV="1">
            <a:off x="2638784" y="2915718"/>
            <a:ext cx="1725399" cy="153166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92" name="AutoShape 22"/>
          <p:cNvCxnSpPr>
            <a:cxnSpLocks noChangeShapeType="1"/>
            <a:stCxn id="3" idx="0"/>
          </p:cNvCxnSpPr>
          <p:nvPr>
            <p:custDataLst>
              <p:tags r:id="rId18"/>
            </p:custDataLst>
          </p:nvPr>
        </p:nvCxnSpPr>
        <p:spPr bwMode="auto">
          <a:xfrm flipV="1">
            <a:off x="2638783" y="3902396"/>
            <a:ext cx="1748733" cy="544991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pic>
        <p:nvPicPr>
          <p:cNvPr id="4" name="Picture 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892" y="3449881"/>
            <a:ext cx="137288" cy="38330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61" y="2604691"/>
            <a:ext cx="137288" cy="383303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221" y="2210959"/>
            <a:ext cx="137288" cy="383303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5762" y="2647659"/>
            <a:ext cx="137288" cy="383303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506" y="2095584"/>
            <a:ext cx="137288" cy="38330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767" y="2064092"/>
            <a:ext cx="137288" cy="383303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7090" y="2532424"/>
            <a:ext cx="137288" cy="383303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5868" y="3475603"/>
            <a:ext cx="137288" cy="383303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952" y="2392221"/>
            <a:ext cx="137288" cy="383303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8536" y="2657540"/>
            <a:ext cx="137288" cy="383303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527" y="2533579"/>
            <a:ext cx="137288" cy="383303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233" y="3497348"/>
            <a:ext cx="137288" cy="383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095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wo exchange rat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600211"/>
            <a:ext cx="7924800" cy="3149599"/>
          </a:xfrm>
        </p:spPr>
        <p:txBody>
          <a:bodyPr>
            <a:normAutofit/>
          </a:bodyPr>
          <a:lstStyle/>
          <a:p>
            <a:r>
              <a:rPr lang="en-US" dirty="0" smtClean="0"/>
              <a:t>E: Nominal Exchange Rate</a:t>
            </a:r>
          </a:p>
          <a:p>
            <a:pPr lvl="1"/>
            <a:r>
              <a:rPr lang="en-US" dirty="0" smtClean="0"/>
              <a:t>Determined in financial markets</a:t>
            </a:r>
          </a:p>
          <a:p>
            <a:pPr lvl="2"/>
            <a:r>
              <a:rPr lang="en-US" dirty="0" smtClean="0"/>
              <a:t>Uncovered and covered interest rate parity</a:t>
            </a:r>
          </a:p>
          <a:p>
            <a:pPr lvl="2"/>
            <a:r>
              <a:rPr lang="en-US" dirty="0" smtClean="0"/>
              <a:t>Order Flows</a:t>
            </a:r>
          </a:p>
          <a:p>
            <a:r>
              <a:rPr lang="en-US" dirty="0" err="1" smtClean="0"/>
              <a:t>Eppp</a:t>
            </a:r>
            <a:r>
              <a:rPr lang="en-US" dirty="0" smtClean="0"/>
              <a:t>: Implied Exchange Rate</a:t>
            </a:r>
          </a:p>
          <a:p>
            <a:pPr lvl="1"/>
            <a:r>
              <a:rPr lang="en-US" dirty="0" smtClean="0"/>
              <a:t>Computed from retailer’s relative prices</a:t>
            </a:r>
            <a:endParaRPr lang="en-US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1796919"/>
              </p:ext>
            </p:extLst>
          </p:nvPr>
        </p:nvGraphicFramePr>
        <p:xfrm>
          <a:off x="2971802" y="4648205"/>
          <a:ext cx="2562225" cy="1065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Equation" r:id="rId3" imgW="1143000" imgH="444500" progId="Equation.3">
                  <p:embed/>
                </p:oleObj>
              </mc:Choice>
              <mc:Fallback>
                <p:oleObj name="Equation" r:id="rId3" imgW="1143000" imgH="444500" progId="Equation.3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971802" y="4648205"/>
                        <a:ext cx="2562225" cy="10652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7993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Xrates-Norm-Australia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9200"/>
            <a:ext cx="9144000" cy="56261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stral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647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Xrates-South Africa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1600"/>
            <a:ext cx="9144000" cy="54864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uth Africa</a:t>
            </a:r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6629400" y="2209800"/>
            <a:ext cx="1333800" cy="3446520"/>
            <a:chOff x="6629400" y="2209800"/>
            <a:chExt cx="1333800" cy="344652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6" name="Ink 5"/>
                <p14:cNvContentPartPr/>
                <p14:nvPr/>
              </p14:nvContentPartPr>
              <p14:xfrm>
                <a:off x="6629400" y="2364480"/>
                <a:ext cx="734670" cy="1616040"/>
              </p14:xfrm>
            </p:contentPart>
          </mc:Choice>
          <mc:Fallback xmlns="">
            <p:pic>
              <p:nvPicPr>
                <p:cNvPr id="6" name="Ink 5"/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6629400" y="2364480"/>
                  <a:ext cx="734670" cy="16160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9" name="Ink 18"/>
                <p14:cNvContentPartPr/>
                <p14:nvPr/>
              </p14:nvContentPartPr>
              <p14:xfrm>
                <a:off x="6822180" y="3913200"/>
                <a:ext cx="1141020" cy="1743120"/>
              </p14:xfrm>
            </p:contentPart>
          </mc:Choice>
          <mc:Fallback xmlns="">
            <p:pic>
              <p:nvPicPr>
                <p:cNvPr id="19" name="Ink 18"/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6822180" y="3913200"/>
                  <a:ext cx="1141020" cy="17431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24" name="Ink 23"/>
                <p14:cNvContentPartPr/>
                <p14:nvPr/>
              </p14:nvContentPartPr>
              <p14:xfrm>
                <a:off x="7391400" y="2209800"/>
                <a:ext cx="112320" cy="225000"/>
              </p14:xfrm>
            </p:contentPart>
          </mc:Choice>
          <mc:Fallback xmlns="">
            <p:pic>
              <p:nvPicPr>
                <p:cNvPr id="24" name="Ink 23"/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391400" y="2209800"/>
                  <a:ext cx="112320" cy="22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28" name="Ink 27"/>
                <p14:cNvContentPartPr/>
                <p14:nvPr/>
              </p14:nvContentPartPr>
              <p14:xfrm>
                <a:off x="7239000" y="3277920"/>
                <a:ext cx="338310" cy="760680"/>
              </p14:xfrm>
            </p:contentPart>
          </mc:Choice>
          <mc:Fallback xmlns="">
            <p:pic>
              <p:nvPicPr>
                <p:cNvPr id="28" name="Ink 27"/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239000" y="3277920"/>
                  <a:ext cx="338310" cy="76068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43773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Xrates-Means-UK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5400"/>
            <a:ext cx="9124950" cy="55626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K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6400800" y="5334000"/>
            <a:ext cx="1523880" cy="768600"/>
            <a:chOff x="9178330" y="5259321"/>
            <a:chExt cx="2031840" cy="7686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6" name="Ink 5"/>
                <p14:cNvContentPartPr/>
                <p14:nvPr/>
              </p14:nvContentPartPr>
              <p14:xfrm>
                <a:off x="9178330" y="5259321"/>
                <a:ext cx="2015640" cy="768600"/>
              </p14:xfrm>
            </p:contentPart>
          </mc:Choice>
          <mc:Fallback xmlns="">
            <p:pic>
              <p:nvPicPr>
                <p:cNvPr id="6" name="Ink 5"/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9170051" y="5251401"/>
                  <a:ext cx="2031477" cy="7848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7" name="Ink 6"/>
                <p14:cNvContentPartPr/>
                <p14:nvPr/>
              </p14:nvContentPartPr>
              <p14:xfrm>
                <a:off x="9910570" y="5300721"/>
                <a:ext cx="1299600" cy="613800"/>
              </p14:xfrm>
            </p:contentPart>
          </mc:Choice>
          <mc:Fallback xmlns="">
            <p:pic>
              <p:nvPicPr>
                <p:cNvPr id="7" name="Ink 6"/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9902290" y="5292441"/>
                  <a:ext cx="1315800" cy="63000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43773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Xrates-Means-Brazil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19200"/>
            <a:ext cx="9151144" cy="565785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zil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7162800" y="2971800"/>
            <a:ext cx="1249920" cy="2887200"/>
            <a:chOff x="10029010" y="2911041"/>
            <a:chExt cx="1666560" cy="288720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3">
              <p14:nvContentPartPr>
                <p14:cNvPr id="6" name="Ink 5"/>
                <p14:cNvContentPartPr/>
                <p14:nvPr/>
              </p14:nvContentPartPr>
              <p14:xfrm>
                <a:off x="11076970" y="3049641"/>
                <a:ext cx="478080" cy="1323360"/>
              </p14:xfrm>
            </p:contentPart>
          </mc:Choice>
          <mc:Fallback xmlns="">
            <p:pic>
              <p:nvPicPr>
                <p:cNvPr id="6" name="Ink 5"/>
                <p:cNvPicPr/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1069050" y="3041721"/>
                  <a:ext cx="494280" cy="13392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5">
              <p14:nvContentPartPr>
                <p14:cNvPr id="10" name="Ink 9"/>
                <p14:cNvContentPartPr/>
                <p14:nvPr/>
              </p14:nvContentPartPr>
              <p14:xfrm>
                <a:off x="10029010" y="4491081"/>
                <a:ext cx="1479960" cy="1307160"/>
              </p14:xfrm>
            </p:contentPart>
          </mc:Choice>
          <mc:Fallback xmlns="">
            <p:pic>
              <p:nvPicPr>
                <p:cNvPr id="10" name="Ink 9"/>
                <p:cNvPicPr/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021092" y="4483161"/>
                  <a:ext cx="1495796" cy="13233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7">
              <p14:nvContentPartPr>
                <p14:cNvPr id="12" name="Ink 11"/>
                <p14:cNvContentPartPr/>
                <p14:nvPr/>
              </p14:nvContentPartPr>
              <p14:xfrm>
                <a:off x="11553010" y="2911041"/>
                <a:ext cx="142560" cy="193320"/>
              </p14:xfrm>
            </p:contentPart>
          </mc:Choice>
          <mc:Fallback xmlns="">
            <p:pic>
              <p:nvPicPr>
                <p:cNvPr id="12" name="Ink 11"/>
                <p:cNvPicPr/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1553010" y="2911041"/>
                  <a:ext cx="142560" cy="19332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9">
              <p14:nvContentPartPr>
                <p14:cNvPr id="36" name="Ink 35"/>
                <p14:cNvContentPartPr/>
                <p14:nvPr/>
              </p14:nvContentPartPr>
              <p14:xfrm>
                <a:off x="10993090" y="5573961"/>
                <a:ext cx="102960" cy="118800"/>
              </p14:xfrm>
            </p:contentPart>
          </mc:Choice>
          <mc:Fallback xmlns="">
            <p:pic>
              <p:nvPicPr>
                <p:cNvPr id="36" name="Ink 35"/>
                <p:cNvPicPr/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10985170" y="5566041"/>
                  <a:ext cx="118800" cy="135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1">
              <p14:nvContentPartPr>
                <p14:cNvPr id="37" name="Ink 36"/>
                <p14:cNvContentPartPr/>
                <p14:nvPr/>
              </p14:nvContentPartPr>
              <p14:xfrm>
                <a:off x="11029450" y="5458041"/>
                <a:ext cx="330480" cy="234720"/>
              </p14:xfrm>
            </p:contentPart>
          </mc:Choice>
          <mc:Fallback xmlns="">
            <p:pic>
              <p:nvPicPr>
                <p:cNvPr id="37" name="Ink 36"/>
                <p:cNvPicPr/>
                <p:nvPr/>
              </p:nvPicPr>
              <p:blipFill>
                <a:blip r:embed="rId12"/>
                <a:stretch>
                  <a:fillRect/>
                </a:stretch>
              </p:blipFill>
              <p:spPr>
                <a:xfrm>
                  <a:off x="11021530" y="5450121"/>
                  <a:ext cx="346320" cy="25056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3">
              <p14:nvContentPartPr>
                <p14:cNvPr id="38" name="Ink 37"/>
                <p14:cNvContentPartPr/>
                <p14:nvPr/>
              </p14:nvContentPartPr>
              <p14:xfrm>
                <a:off x="11359210" y="5523561"/>
                <a:ext cx="72720" cy="138600"/>
              </p14:xfrm>
            </p:contentPart>
          </mc:Choice>
          <mc:Fallback xmlns="">
            <p:pic>
              <p:nvPicPr>
                <p:cNvPr id="38" name="Ink 37"/>
                <p:cNvPicPr/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11351290" y="5515641"/>
                  <a:ext cx="88560" cy="15444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5">
              <p14:nvContentPartPr>
                <p14:cNvPr id="39" name="Ink 38"/>
                <p14:cNvContentPartPr/>
                <p14:nvPr/>
              </p14:nvContentPartPr>
              <p14:xfrm>
                <a:off x="11493490" y="5541921"/>
                <a:ext cx="180720" cy="125280"/>
              </p14:xfrm>
            </p:contentPart>
          </mc:Choice>
          <mc:Fallback xmlns="">
            <p:pic>
              <p:nvPicPr>
                <p:cNvPr id="39" name="Ink 38"/>
                <p:cNvPicPr/>
                <p:nvPr/>
              </p:nvPicPr>
              <p:blipFill>
                <a:blip r:embed="rId16"/>
                <a:stretch>
                  <a:fillRect/>
                </a:stretch>
              </p:blipFill>
              <p:spPr>
                <a:xfrm>
                  <a:off x="11485570" y="5533641"/>
                  <a:ext cx="196920" cy="141120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1437731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Xrates-Means-Argentina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143000"/>
            <a:ext cx="8610600" cy="5724524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gentina</a:t>
            </a:r>
            <a:endParaRPr lang="en-US" dirty="0"/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58" name="Ink 57"/>
              <p14:cNvContentPartPr/>
              <p14:nvPr/>
            </p14:nvContentPartPr>
            <p14:xfrm>
              <a:off x="4876800" y="1676400"/>
              <a:ext cx="2389770" cy="907466"/>
            </p14:xfrm>
          </p:contentPart>
        </mc:Choice>
        <mc:Fallback xmlns="">
          <p:pic>
            <p:nvPicPr>
              <p:cNvPr id="58" name="Ink 57"/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876800" y="1676400"/>
                <a:ext cx="2389770" cy="907466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61942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y is there information about the exchange rat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dirty="0"/>
              <a:t>What retailers DO NOT do?</a:t>
            </a:r>
          </a:p>
          <a:p>
            <a:pPr lvl="1"/>
            <a:r>
              <a:rPr lang="en-US" sz="1600" dirty="0"/>
              <a:t>Predict the exchange rate</a:t>
            </a:r>
          </a:p>
          <a:p>
            <a:r>
              <a:rPr lang="en-US" sz="1600" dirty="0"/>
              <a:t>What retailers DO?</a:t>
            </a:r>
          </a:p>
          <a:p>
            <a:pPr lvl="1"/>
            <a:r>
              <a:rPr lang="en-US" sz="1600" dirty="0"/>
              <a:t>Price according to the local demand</a:t>
            </a:r>
          </a:p>
          <a:p>
            <a:pPr lvl="2"/>
            <a:r>
              <a:rPr lang="en-US" sz="1600" dirty="0"/>
              <a:t>Movements in the relative price of identical items reflect shifts in relative demands</a:t>
            </a:r>
          </a:p>
          <a:p>
            <a:pPr lvl="3"/>
            <a:r>
              <a:rPr lang="en-US" sz="1600" dirty="0"/>
              <a:t>If prices at home are increasing faster than at foreign, then it means that the demand at home is stronger than abroad.</a:t>
            </a:r>
          </a:p>
          <a:p>
            <a:pPr lvl="3"/>
            <a:r>
              <a:rPr lang="en-US" sz="1600" dirty="0"/>
              <a:t>This demand is the demand for imports/exports. It is for </a:t>
            </a:r>
            <a:r>
              <a:rPr lang="en-US" sz="1600" dirty="0" err="1"/>
              <a:t>tradeable</a:t>
            </a:r>
            <a:r>
              <a:rPr lang="en-US" sz="1600" dirty="0"/>
              <a:t> products</a:t>
            </a:r>
          </a:p>
          <a:p>
            <a:pPr lvl="3"/>
            <a:r>
              <a:rPr lang="en-US" sz="1600" dirty="0"/>
              <a:t>Shift in demand for </a:t>
            </a:r>
            <a:r>
              <a:rPr lang="en-US" sz="1600" dirty="0" err="1"/>
              <a:t>tradeables</a:t>
            </a:r>
            <a:r>
              <a:rPr lang="en-US" sz="1600" dirty="0"/>
              <a:t> have implications on hedging demand and foreign exchange rates, that ultimately has an impact in nominal rates.</a:t>
            </a:r>
          </a:p>
          <a:p>
            <a:pPr lvl="3"/>
            <a:r>
              <a:rPr lang="en-US" sz="1600" dirty="0"/>
              <a:t>The theories say that an increase in the demand for imports leads to a depreciation of the real exchange rate.</a:t>
            </a:r>
          </a:p>
          <a:p>
            <a:pPr lvl="2"/>
            <a:r>
              <a:rPr lang="en-US" sz="1600" dirty="0"/>
              <a:t>We measure the “agreement” across retailers about their relative demands</a:t>
            </a:r>
          </a:p>
          <a:p>
            <a:pPr lvl="1"/>
            <a:r>
              <a:rPr lang="en-US" sz="1600" dirty="0"/>
              <a:t>This implies that price increases have different signals than price decreases because increases are more likely than decrease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36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zil</a:t>
            </a:r>
            <a:endParaRPr lang="en-US" dirty="0"/>
          </a:p>
        </p:txBody>
      </p:sp>
      <p:pic>
        <p:nvPicPr>
          <p:cNvPr id="4" name="Content Placeholder 3" descr="Reg-Brazil-Imp-Dev-120-60-1000.pdf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648" r="-2648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68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ustralia</a:t>
            </a:r>
            <a:endParaRPr lang="en-US" dirty="0"/>
          </a:p>
        </p:txBody>
      </p:sp>
      <p:pic>
        <p:nvPicPr>
          <p:cNvPr id="5" name="Content Placeholder 4" descr="Reg-Australia-Imp-Dev-120-60-1000.pdf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56" r="-2856"/>
          <a:stretch>
            <a:fillRect/>
          </a:stretch>
        </p:blipFill>
        <p:spPr>
          <a:xfrm>
            <a:off x="457200" y="1600200"/>
            <a:ext cx="8229600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896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erent Types of Data</a:t>
            </a:r>
            <a:endParaRPr lang="en-US" dirty="0"/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015567748"/>
              </p:ext>
            </p:extLst>
          </p:nvPr>
        </p:nvGraphicFramePr>
        <p:xfrm>
          <a:off x="818476" y="1475804"/>
          <a:ext cx="7243940" cy="4801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1810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zil: Impulse Responses</a:t>
            </a:r>
            <a:endParaRPr lang="en-US" dirty="0"/>
          </a:p>
        </p:txBody>
      </p:sp>
      <p:pic>
        <p:nvPicPr>
          <p:cNvPr id="4" name="Content Placeholder 3" descr="image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734" r="-7734"/>
          <a:stretch>
            <a:fillRect/>
          </a:stretch>
        </p:blipFill>
        <p:spPr>
          <a:xfrm>
            <a:off x="457200" y="1600200"/>
            <a:ext cx="8229600" cy="4525963"/>
          </a:xfrm>
        </p:spPr>
      </p:pic>
    </p:spTree>
    <p:extLst>
      <p:ext uri="{BB962C8B-B14F-4D97-AF65-F5344CB8AC3E}">
        <p14:creationId xmlns:p14="http://schemas.microsoft.com/office/powerpoint/2010/main" val="3007695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razil: Impulse Responses</a:t>
            </a:r>
            <a:endParaRPr lang="en-US" dirty="0"/>
          </a:p>
        </p:txBody>
      </p:sp>
      <p:pic>
        <p:nvPicPr>
          <p:cNvPr id="5" name="Content Placeholder 4" descr="image.pn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0526" r="-4052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0446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 txBox="1">
            <a:spLocks/>
          </p:cNvSpPr>
          <p:nvPr/>
        </p:nvSpPr>
        <p:spPr>
          <a:xfrm>
            <a:off x="457200" y="14478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Type of data</a:t>
            </a:r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endParaRPr lang="en-US" sz="2800" dirty="0" smtClean="0"/>
          </a:p>
          <a:p>
            <a:r>
              <a:rPr lang="en-US" sz="2800" dirty="0" smtClean="0"/>
              <a:t>What is the objective?</a:t>
            </a:r>
          </a:p>
          <a:p>
            <a:endParaRPr lang="en-US" sz="2800" dirty="0"/>
          </a:p>
          <a:p>
            <a:endParaRPr lang="en-US" sz="2800" dirty="0" smtClean="0"/>
          </a:p>
          <a:p>
            <a:endParaRPr lang="en-US" sz="2800" dirty="0" smtClean="0"/>
          </a:p>
          <a:p>
            <a:endParaRPr lang="en-US" sz="2800" dirty="0"/>
          </a:p>
          <a:p>
            <a:pPr marL="0" indent="0">
              <a:buNone/>
            </a:pPr>
            <a:endParaRPr lang="en-US" sz="2800" dirty="0" smtClean="0"/>
          </a:p>
          <a:p>
            <a:endParaRPr lang="en-US" sz="28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l Remarks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24793121"/>
              </p:ext>
            </p:extLst>
          </p:nvPr>
        </p:nvGraphicFramePr>
        <p:xfrm>
          <a:off x="1219200" y="3657600"/>
          <a:ext cx="7315200" cy="2319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5074"/>
                <a:gridCol w="4620126"/>
              </a:tblGrid>
              <a:tr h="338456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Objectiv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What is the problem?</a:t>
                      </a:r>
                      <a:endParaRPr lang="en-US" dirty="0"/>
                    </a:p>
                  </a:txBody>
                  <a:tcPr anchor="ctr"/>
                </a:tc>
              </a:tr>
              <a:tr h="338456">
                <a:tc>
                  <a:txBody>
                    <a:bodyPr/>
                    <a:lstStyle/>
                    <a:p>
                      <a:r>
                        <a:rPr lang="en-US" dirty="0" smtClean="0"/>
                        <a:t>Complement a Survey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</a:tr>
              <a:tr h="338456">
                <a:tc>
                  <a:txBody>
                    <a:bodyPr/>
                    <a:lstStyle/>
                    <a:p>
                      <a:r>
                        <a:rPr lang="en-US" dirty="0" smtClean="0"/>
                        <a:t>Pattern Detectio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bility</a:t>
                      </a:r>
                    </a:p>
                  </a:txBody>
                  <a:tcPr anchor="ctr"/>
                </a:tc>
              </a:tr>
              <a:tr h="427989">
                <a:tc>
                  <a:txBody>
                    <a:bodyPr/>
                    <a:lstStyle/>
                    <a:p>
                      <a:r>
                        <a:rPr lang="en-US" dirty="0" smtClean="0"/>
                        <a:t>Estimation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resentativeness and Independence</a:t>
                      </a:r>
                      <a:endParaRPr lang="en-US" dirty="0"/>
                    </a:p>
                  </a:txBody>
                  <a:tcPr anchor="ctr"/>
                </a:tc>
              </a:tr>
              <a:tr h="427989">
                <a:tc>
                  <a:txBody>
                    <a:bodyPr/>
                    <a:lstStyle/>
                    <a:p>
                      <a:r>
                        <a:rPr lang="en-US" dirty="0" smtClean="0"/>
                        <a:t>Forecasting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ability and Missing Variables</a:t>
                      </a:r>
                      <a:endParaRPr lang="en-US" dirty="0"/>
                    </a:p>
                  </a:txBody>
                  <a:tcPr anchor="ctr"/>
                </a:tc>
              </a:tr>
              <a:tr h="338456">
                <a:tc>
                  <a:txBody>
                    <a:bodyPr/>
                    <a:lstStyle/>
                    <a:p>
                      <a:r>
                        <a:rPr lang="en-US" dirty="0" smtClean="0"/>
                        <a:t>Measurement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Everything</a:t>
                      </a:r>
                      <a:endParaRPr lang="en-US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2795013"/>
              </p:ext>
            </p:extLst>
          </p:nvPr>
        </p:nvGraphicFramePr>
        <p:xfrm>
          <a:off x="1219200" y="2057400"/>
          <a:ext cx="7315200" cy="7416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920240"/>
                <a:gridCol w="539496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Designe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sponse Rate and Response Accuracy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Organic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epresentativenes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05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Requirements</a:t>
            </a:r>
            <a:br>
              <a:rPr lang="en-US" dirty="0" smtClean="0"/>
            </a:br>
            <a:r>
              <a:rPr lang="en-US" sz="3100" dirty="0" smtClean="0"/>
              <a:t>Weaknesses that matter</a:t>
            </a:r>
            <a:endParaRPr lang="en-US" sz="31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204774"/>
              </p:ext>
            </p:extLst>
          </p:nvPr>
        </p:nvGraphicFramePr>
        <p:xfrm>
          <a:off x="413104" y="1387581"/>
          <a:ext cx="8282764" cy="4371340"/>
        </p:xfrm>
        <a:graphic>
          <a:graphicData uri="http://schemas.openxmlformats.org/drawingml/2006/table">
            <a:tbl>
              <a:tblPr firstRow="1">
                <a:tableStyleId>{5C22544A-7EE6-4342-B048-85BDC9FD1C3A}</a:tableStyleId>
              </a:tblPr>
              <a:tblGrid>
                <a:gridCol w="3076932"/>
                <a:gridCol w="1301458"/>
                <a:gridCol w="1301458"/>
                <a:gridCol w="1301458"/>
                <a:gridCol w="1301458"/>
              </a:tblGrid>
              <a:tr h="334568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Survey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Estimation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Forecasting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Measurement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185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presentativeness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solidFill>
                          <a:srgbClr val="FF0000"/>
                        </a:solidFill>
                        <a:latin typeface="Wingdings 2" charset="2"/>
                        <a:cs typeface="Wingdings 2" charset="2"/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 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185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election Bias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185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Reliability and Consistency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20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3787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ransparency on Data Collection and Treatment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20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185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rrors-in-variables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1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1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185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Aspirational (Transactional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1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20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185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ivate (as</a:t>
                      </a:r>
                      <a:r>
                        <a:rPr lang="en-US" sz="1200" baseline="0" dirty="0" smtClean="0"/>
                        <a:t> opposed to public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accent1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16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  <a:endParaRPr lang="en-US" sz="2000" dirty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185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odel Uncertainty and Behavioral Changes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/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solidFill>
                            <a:srgbClr val="FF0000"/>
                          </a:solidFill>
                          <a:latin typeface="Wingdings 2" charset="2"/>
                          <a:cs typeface="Wingdings 2" charset="2"/>
                        </a:rPr>
                        <a:t>P</a:t>
                      </a:r>
                    </a:p>
                  </a:txBody>
                  <a:tcPr anchor="ctr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0613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ecasting versus Measur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Forecasting</a:t>
            </a:r>
          </a:p>
          <a:p>
            <a:pPr lvl="1"/>
            <a:r>
              <a:rPr lang="en-US" dirty="0" smtClean="0"/>
              <a:t>Need a benchmark</a:t>
            </a:r>
          </a:p>
          <a:p>
            <a:pPr lvl="1"/>
            <a:r>
              <a:rPr lang="en-US" dirty="0" smtClean="0"/>
              <a:t>Out-of-sample accuracy is important</a:t>
            </a:r>
          </a:p>
          <a:p>
            <a:pPr lvl="1"/>
            <a:r>
              <a:rPr lang="en-US" dirty="0" smtClean="0"/>
              <a:t>Constant evaluation</a:t>
            </a:r>
          </a:p>
          <a:p>
            <a:pPr lvl="1"/>
            <a:endParaRPr lang="en-US" dirty="0"/>
          </a:p>
          <a:p>
            <a:r>
              <a:rPr lang="en-US" dirty="0" smtClean="0"/>
              <a:t>Measurement</a:t>
            </a:r>
          </a:p>
          <a:p>
            <a:pPr lvl="1"/>
            <a:r>
              <a:rPr lang="en-US" dirty="0" smtClean="0"/>
              <a:t>Constructs the benchmark</a:t>
            </a:r>
          </a:p>
          <a:p>
            <a:pPr lvl="1"/>
            <a:r>
              <a:rPr lang="en-US" dirty="0" smtClean="0"/>
              <a:t>Consistency in data collection</a:t>
            </a:r>
          </a:p>
          <a:p>
            <a:pPr lvl="1"/>
            <a:r>
              <a:rPr lang="en-US" dirty="0" smtClean="0"/>
              <a:t>Representativeness of data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057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sure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800594"/>
          </a:xfrm>
        </p:spPr>
        <p:txBody>
          <a:bodyPr>
            <a:normAutofit/>
          </a:bodyPr>
          <a:lstStyle/>
          <a:p>
            <a:r>
              <a:rPr lang="en-US" dirty="0" smtClean="0"/>
              <a:t>Official Statistical Offices</a:t>
            </a:r>
          </a:p>
          <a:p>
            <a:pPr lvl="1"/>
            <a:r>
              <a:rPr lang="en-US" dirty="0" smtClean="0"/>
              <a:t>Federal Statistics</a:t>
            </a:r>
          </a:p>
          <a:p>
            <a:pPr lvl="2"/>
            <a:r>
              <a:rPr lang="en-US" dirty="0" smtClean="0"/>
              <a:t>GDP, Labor Market Conditions (Unemployment), Inflation, Real Estate, etc.</a:t>
            </a:r>
          </a:p>
          <a:p>
            <a:pPr lvl="1"/>
            <a:r>
              <a:rPr lang="en-US" dirty="0" smtClean="0"/>
              <a:t>Tremendous challenges </a:t>
            </a:r>
          </a:p>
          <a:p>
            <a:pPr lvl="2"/>
            <a:r>
              <a:rPr lang="en-US" dirty="0" smtClean="0"/>
              <a:t>Response rates</a:t>
            </a:r>
          </a:p>
          <a:p>
            <a:pPr lvl="2"/>
            <a:r>
              <a:rPr lang="en-US" dirty="0" smtClean="0"/>
              <a:t>Cost and Budgets</a:t>
            </a:r>
          </a:p>
          <a:p>
            <a:pPr lvl="2"/>
            <a:r>
              <a:rPr lang="en-US" dirty="0" smtClean="0"/>
              <a:t>Political Manipulation</a:t>
            </a:r>
          </a:p>
        </p:txBody>
      </p:sp>
    </p:spTree>
    <p:extLst>
      <p:ext uri="{BB962C8B-B14F-4D97-AF65-F5344CB8AC3E}">
        <p14:creationId xmlns:p14="http://schemas.microsoft.com/office/powerpoint/2010/main" val="1896041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Online Inflation Rates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Billion Prices Projec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356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Billion Prices Project</a:t>
            </a:r>
            <a:endParaRPr lang="en-US" dirty="0"/>
          </a:p>
        </p:txBody>
      </p:sp>
      <p:sp>
        <p:nvSpPr>
          <p:cNvPr id="4" name="Rounded Rectangle 57"/>
          <p:cNvSpPr>
            <a:spLocks noChangeArrowheads="1"/>
          </p:cNvSpPr>
          <p:nvPr/>
        </p:nvSpPr>
        <p:spPr bwMode="auto">
          <a:xfrm>
            <a:off x="238125" y="2209800"/>
            <a:ext cx="8669338" cy="26670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 lIns="90000" tIns="46800" rIns="90000" bIns="46800"/>
          <a:lstStyle/>
          <a:p>
            <a:pPr algn="ctr"/>
            <a:endParaRPr lang="en-GB" sz="1400"/>
          </a:p>
        </p:txBody>
      </p:sp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242186" y="3624264"/>
            <a:ext cx="1401763" cy="985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76688" y="3592512"/>
            <a:ext cx="781050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303463" y="3503612"/>
            <a:ext cx="971550" cy="11922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</p:pic>
      <p:sp>
        <p:nvSpPr>
          <p:cNvPr id="8" name="TextBox 10"/>
          <p:cNvSpPr txBox="1">
            <a:spLocks noChangeArrowheads="1"/>
          </p:cNvSpPr>
          <p:nvPr/>
        </p:nvSpPr>
        <p:spPr bwMode="auto">
          <a:xfrm>
            <a:off x="5559426" y="3597327"/>
            <a:ext cx="13462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09538" indent="-109538">
              <a:buFont typeface="Arial" charset="0"/>
              <a:buChar char="•"/>
            </a:pPr>
            <a:r>
              <a:rPr lang="en-US" sz="1400" b="0" i="1"/>
              <a:t>Date</a:t>
            </a:r>
          </a:p>
          <a:p>
            <a:pPr marL="109538" indent="-109538">
              <a:buFont typeface="Arial" charset="0"/>
              <a:buChar char="•"/>
            </a:pPr>
            <a:r>
              <a:rPr lang="en-US" sz="1400" b="0" i="1"/>
              <a:t>Item</a:t>
            </a:r>
          </a:p>
          <a:p>
            <a:pPr marL="109538" indent="-109538">
              <a:buFont typeface="Arial" charset="0"/>
              <a:buChar char="•"/>
            </a:pPr>
            <a:r>
              <a:rPr lang="en-US" sz="1400" b="0" i="1"/>
              <a:t>Price</a:t>
            </a:r>
          </a:p>
          <a:p>
            <a:pPr marL="109538" indent="-109538">
              <a:buFont typeface="Arial" charset="0"/>
              <a:buChar char="•"/>
            </a:pPr>
            <a:r>
              <a:rPr lang="en-US" sz="1400" b="0" i="1"/>
              <a:t>Description</a:t>
            </a:r>
          </a:p>
        </p:txBody>
      </p:sp>
      <p:cxnSp>
        <p:nvCxnSpPr>
          <p:cNvPr id="9" name="AutoShape 70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 flipV="1">
            <a:off x="3400433" y="4100512"/>
            <a:ext cx="530225" cy="0"/>
          </a:xfrm>
          <a:prstGeom prst="straightConnector1">
            <a:avLst/>
          </a:prstGeom>
          <a:ln>
            <a:headEnd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AutoShape 70"/>
          <p:cNvCxnSpPr>
            <a:cxnSpLocks noChangeShapeType="1"/>
          </p:cNvCxnSpPr>
          <p:nvPr>
            <p:custDataLst>
              <p:tags r:id="rId2"/>
            </p:custDataLst>
          </p:nvPr>
        </p:nvCxnSpPr>
        <p:spPr bwMode="auto">
          <a:xfrm flipV="1">
            <a:off x="4665663" y="4086225"/>
            <a:ext cx="527050" cy="0"/>
          </a:xfrm>
          <a:prstGeom prst="straightConnector1">
            <a:avLst/>
          </a:prstGeom>
          <a:ln>
            <a:headEnd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AutoShape 70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 flipV="1">
            <a:off x="6515101" y="4113212"/>
            <a:ext cx="528638" cy="0"/>
          </a:xfrm>
          <a:prstGeom prst="straightConnector1">
            <a:avLst/>
          </a:prstGeom>
          <a:ln>
            <a:headEnd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 Box 9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295400" y="1600222"/>
            <a:ext cx="63738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dirty="0" smtClean="0"/>
              <a:t>Our Approach to Daily Inflation Statistics</a:t>
            </a:r>
            <a:endParaRPr lang="en-US" sz="1600" dirty="0"/>
          </a:p>
        </p:txBody>
      </p:sp>
      <p:sp>
        <p:nvSpPr>
          <p:cNvPr id="13" name="TextBox 47"/>
          <p:cNvSpPr txBox="1">
            <a:spLocks noChangeArrowheads="1"/>
          </p:cNvSpPr>
          <p:nvPr/>
        </p:nvSpPr>
        <p:spPr bwMode="auto">
          <a:xfrm>
            <a:off x="728671" y="2574983"/>
            <a:ext cx="137318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i="1"/>
              <a:t>Use scraping technology</a:t>
            </a:r>
          </a:p>
        </p:txBody>
      </p:sp>
      <p:sp>
        <p:nvSpPr>
          <p:cNvPr id="14" name="TextBox 48"/>
          <p:cNvSpPr txBox="1">
            <a:spLocks noChangeArrowheads="1"/>
          </p:cNvSpPr>
          <p:nvPr/>
        </p:nvSpPr>
        <p:spPr bwMode="auto">
          <a:xfrm>
            <a:off x="2200275" y="2574983"/>
            <a:ext cx="15065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i="1"/>
              <a:t>Connect to thousands of online retailers every day</a:t>
            </a:r>
          </a:p>
        </p:txBody>
      </p:sp>
      <p:sp>
        <p:nvSpPr>
          <p:cNvPr id="15" name="TextBox 49"/>
          <p:cNvSpPr txBox="1">
            <a:spLocks noChangeArrowheads="1"/>
          </p:cNvSpPr>
          <p:nvPr/>
        </p:nvSpPr>
        <p:spPr bwMode="auto">
          <a:xfrm>
            <a:off x="3968750" y="2574983"/>
            <a:ext cx="13716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i="1"/>
              <a:t>Find individual items</a:t>
            </a:r>
          </a:p>
        </p:txBody>
      </p:sp>
      <p:sp>
        <p:nvSpPr>
          <p:cNvPr id="16" name="TextBox 50"/>
          <p:cNvSpPr txBox="1">
            <a:spLocks noChangeArrowheads="1"/>
          </p:cNvSpPr>
          <p:nvPr/>
        </p:nvSpPr>
        <p:spPr bwMode="auto">
          <a:xfrm>
            <a:off x="7231066" y="2574983"/>
            <a:ext cx="137318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i="1" dirty="0" smtClean="0"/>
              <a:t>Develop daily inflation statistics for ~20 countries</a:t>
            </a:r>
            <a:endParaRPr lang="en-US" sz="1200" i="1" dirty="0"/>
          </a:p>
        </p:txBody>
      </p:sp>
      <p:sp>
        <p:nvSpPr>
          <p:cNvPr id="17" name="Oval 190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2925" y="2290763"/>
            <a:ext cx="293688" cy="3175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8" name="Oval 19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095500" y="2290763"/>
            <a:ext cx="293688" cy="3175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2</a:t>
            </a:r>
          </a:p>
        </p:txBody>
      </p:sp>
      <p:sp>
        <p:nvSpPr>
          <p:cNvPr id="19" name="Oval 19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86200" y="2290763"/>
            <a:ext cx="293688" cy="3175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3</a:t>
            </a:r>
          </a:p>
        </p:txBody>
      </p:sp>
      <p:sp>
        <p:nvSpPr>
          <p:cNvPr id="20" name="Oval 19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589589" y="2290763"/>
            <a:ext cx="292100" cy="3175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4</a:t>
            </a:r>
          </a:p>
        </p:txBody>
      </p:sp>
      <p:sp>
        <p:nvSpPr>
          <p:cNvPr id="21" name="Oval 19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008834" y="2290763"/>
            <a:ext cx="293687" cy="3175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>
                <a:solidFill>
                  <a:schemeClr val="bg2"/>
                </a:solidFill>
                <a:latin typeface="Arial" pitchFamily="34" charset="0"/>
                <a:ea typeface="+mn-ea"/>
                <a:cs typeface="+mn-cs"/>
              </a:rPr>
              <a:t>5</a:t>
            </a:r>
          </a:p>
        </p:txBody>
      </p:sp>
      <p:sp>
        <p:nvSpPr>
          <p:cNvPr id="22" name="TextBox 56"/>
          <p:cNvSpPr txBox="1">
            <a:spLocks noChangeArrowheads="1"/>
          </p:cNvSpPr>
          <p:nvPr/>
        </p:nvSpPr>
        <p:spPr bwMode="auto">
          <a:xfrm>
            <a:off x="5534025" y="2574983"/>
            <a:ext cx="137160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200" i="1" dirty="0"/>
              <a:t>Store </a:t>
            </a:r>
            <a:r>
              <a:rPr lang="en-US" sz="1200" i="1" dirty="0" smtClean="0"/>
              <a:t>and process key </a:t>
            </a:r>
            <a:r>
              <a:rPr lang="en-US" sz="1200" i="1" dirty="0"/>
              <a:t>item information in a database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49441" y="3425881"/>
            <a:ext cx="1522239" cy="1269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4" name="AutoShape 70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 flipV="1">
            <a:off x="1939926" y="4086225"/>
            <a:ext cx="527050" cy="0"/>
          </a:xfrm>
          <a:prstGeom prst="straightConnector1">
            <a:avLst/>
          </a:prstGeom>
          <a:ln>
            <a:headEnd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3707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untries covered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8" name="Rectangle 12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6847" y="966407"/>
            <a:ext cx="7884896" cy="4562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marL="166688" indent="-166688">
              <a:buFont typeface="Arial" pitchFamily="34" charset="0"/>
              <a:buChar char="•"/>
            </a:pPr>
            <a:endParaRPr lang="en-US" sz="1400" i="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 cstate="print"/>
          <a:srcRect l="2791" t="6205" r="4584" b="2214"/>
          <a:stretch/>
        </p:blipFill>
        <p:spPr>
          <a:xfrm>
            <a:off x="1295400" y="1524001"/>
            <a:ext cx="6462420" cy="489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511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_90HZclEO.cauL5h6z.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_90HZclEO.cauL5h6z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6hzelatUCMav_nJNLu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y6h0RDr0eCJRgpeFRv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8qa76w90CbzV7.Enoo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vf5dliGEabyv6ySxjk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3mzcqMq0m0NhtNR7AM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7g6v58MkalGh1siPnU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WzpA8ROUCqIUYRwmgd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MUbOdnyUG4iZzRP3Rg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vXRiLuf0aV5xpl8lt_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_90HZclEO.cauL5h6z.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MVQLFcpkCZNn861qRe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3iSydfiECIdzXg06h4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dDqZVdEk6z5T4xTQTR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p6s3moeEaBgdCrySVK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_XjORde0.Ih1JkL0HR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8vOjyOFECN0a9j_nwp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VKRv3DWU6a8QJ4ikIZ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_XjORde0.Ih1JkL0HR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_XjORde0.Ih1JkL0HR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_XjORde0.Ih1JkL0HR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_90HZclEO.cauL5h6z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a8rBSlJ0SjeLNBKRny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bLcJYNUy7xxUKBzbG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bLcJYNUy7xxUKBzbG4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bLcJYNUy7xxUKBzbG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bLcJYNUy7xxUKBzbG4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xbLcJYNUy7xxUKBzbG4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6</TotalTime>
  <Words>727</Words>
  <PresentationFormat>Diavoorstelling (4:3)</PresentationFormat>
  <Paragraphs>191</Paragraphs>
  <Slides>32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2</vt:i4>
      </vt:variant>
    </vt:vector>
  </HeadingPairs>
  <TitlesOfParts>
    <vt:vector size="37" baseType="lpstr">
      <vt:lpstr>Arial</vt:lpstr>
      <vt:lpstr>Calibri</vt:lpstr>
      <vt:lpstr>Wingdings 2</vt:lpstr>
      <vt:lpstr>Office Theme</vt:lpstr>
      <vt:lpstr>Equation</vt:lpstr>
      <vt:lpstr>Organic Data  and Economic Measurement</vt:lpstr>
      <vt:lpstr>PowerPoint-presentatie</vt:lpstr>
      <vt:lpstr>Different Types of Data</vt:lpstr>
      <vt:lpstr>Requirements Weaknesses that matter</vt:lpstr>
      <vt:lpstr>Forecasting versus Measurement</vt:lpstr>
      <vt:lpstr>Measurement</vt:lpstr>
      <vt:lpstr>Online Inflation Rates</vt:lpstr>
      <vt:lpstr>Billion Prices Project</vt:lpstr>
      <vt:lpstr>Countries covered</vt:lpstr>
      <vt:lpstr>USA</vt:lpstr>
      <vt:lpstr>Euro</vt:lpstr>
      <vt:lpstr>Argentina</vt:lpstr>
      <vt:lpstr>Brazil</vt:lpstr>
      <vt:lpstr>Neatherlands</vt:lpstr>
      <vt:lpstr>USA: Anticipation</vt:lpstr>
      <vt:lpstr>Properties</vt:lpstr>
      <vt:lpstr>Core Inflation</vt:lpstr>
      <vt:lpstr>Real Exchange Rates</vt:lpstr>
      <vt:lpstr>The International Comparison Program </vt:lpstr>
      <vt:lpstr>Thousands Big Mac’s Project</vt:lpstr>
      <vt:lpstr>Two exchange rates</vt:lpstr>
      <vt:lpstr>Australia</vt:lpstr>
      <vt:lpstr>South Africa</vt:lpstr>
      <vt:lpstr>UK</vt:lpstr>
      <vt:lpstr>Brazil</vt:lpstr>
      <vt:lpstr>Argentina</vt:lpstr>
      <vt:lpstr>Why is there information about the exchange rate?</vt:lpstr>
      <vt:lpstr>Brazil</vt:lpstr>
      <vt:lpstr>Australia</vt:lpstr>
      <vt:lpstr>Brazil: Impulse Responses</vt:lpstr>
      <vt:lpstr>Brazil: Impulse Responses</vt:lpstr>
      <vt:lpstr>Final Remark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16-05-18T21:07:03Z</dcterms:created>
  <dcterms:modified xsi:type="dcterms:W3CDTF">2016-10-06T07:24:57Z</dcterms:modified>
</cp:coreProperties>
</file>